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32"/>
  </p:notesMasterIdLst>
  <p:sldIdLst>
    <p:sldId id="256" r:id="rId2"/>
    <p:sldId id="267" r:id="rId3"/>
    <p:sldId id="320" r:id="rId4"/>
    <p:sldId id="321" r:id="rId5"/>
    <p:sldId id="315" r:id="rId6"/>
    <p:sldId id="322" r:id="rId7"/>
    <p:sldId id="302" r:id="rId8"/>
    <p:sldId id="300" r:id="rId9"/>
    <p:sldId id="286" r:id="rId10"/>
    <p:sldId id="299" r:id="rId11"/>
    <p:sldId id="323" r:id="rId12"/>
    <p:sldId id="287" r:id="rId13"/>
    <p:sldId id="296" r:id="rId14"/>
    <p:sldId id="313" r:id="rId15"/>
    <p:sldId id="314" r:id="rId16"/>
    <p:sldId id="268" r:id="rId17"/>
    <p:sldId id="303" r:id="rId18"/>
    <p:sldId id="304" r:id="rId19"/>
    <p:sldId id="305" r:id="rId20"/>
    <p:sldId id="306" r:id="rId21"/>
    <p:sldId id="298" r:id="rId22"/>
    <p:sldId id="307" r:id="rId23"/>
    <p:sldId id="308" r:id="rId24"/>
    <p:sldId id="309" r:id="rId25"/>
    <p:sldId id="310" r:id="rId26"/>
    <p:sldId id="312" r:id="rId27"/>
    <p:sldId id="311" r:id="rId28"/>
    <p:sldId id="324" r:id="rId29"/>
    <p:sldId id="326" r:id="rId30"/>
    <p:sldId id="327" r:id="rId3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a Alcocer" initials="MA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546A"/>
    <a:srgbClr val="008DF0"/>
    <a:srgbClr val="0096FF"/>
    <a:srgbClr val="5B9B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541" autoAdjust="0"/>
    <p:restoredTop sz="80667" autoAdjust="0"/>
  </p:normalViewPr>
  <p:slideViewPr>
    <p:cSldViewPr snapToGrid="0" snapToObjects="1">
      <p:cViewPr varScale="1">
        <p:scale>
          <a:sx n="94" d="100"/>
          <a:sy n="94" d="100"/>
        </p:scale>
        <p:origin x="1716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9"/>
    </mc:Choice>
    <mc:Fallback>
      <c:style val="19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i="1" dirty="0"/>
              <a:t>Do You Use Technology in the Kitchen?</a:t>
            </a:r>
          </a:p>
        </c:rich>
      </c:tx>
      <c:layout/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83</c:v>
                </c:pt>
                <c:pt idx="1">
                  <c:v>0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6176965633963502"/>
          <c:y val="0"/>
          <c:w val="0.48362989782837801"/>
          <c:h val="0.8327028022533949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1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</c:spPr>
          </c:dPt>
          <c:cat>
            <c:strRef>
              <c:f>Sheet1!$A$2:$A$3</c:f>
              <c:strCache>
                <c:ptCount val="2"/>
                <c:pt idx="0">
                  <c:v>Finding Recipes</c:v>
                </c:pt>
                <c:pt idx="1">
                  <c:v>Watching Video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.3</c:v>
                </c:pt>
                <c:pt idx="1">
                  <c:v>2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15927320"/>
        <c:axId val="415927712"/>
      </c:barChart>
      <c:catAx>
        <c:axId val="415927320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 b="1"/>
            </a:pPr>
            <a:endParaRPr lang="en-US"/>
          </a:p>
        </c:txPr>
        <c:crossAx val="415927712"/>
        <c:crosses val="autoZero"/>
        <c:auto val="1"/>
        <c:lblAlgn val="ctr"/>
        <c:lblOffset val="100"/>
        <c:noMultiLvlLbl val="0"/>
      </c:catAx>
      <c:valAx>
        <c:axId val="415927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159273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870099997482001"/>
          <c:y val="2.76315818101514E-2"/>
          <c:w val="0.58023486290584902"/>
          <c:h val="0.9723684181898489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</c:spPr>
          </c:dPt>
          <c:dPt>
            <c:idx val="1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</c:dPt>
          <c:dPt>
            <c:idx val="2"/>
            <c:invertIfNegative val="0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</c:spPr>
          </c:dPt>
          <c:dPt>
            <c:idx val="3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cat>
            <c:strRef>
              <c:f>Sheet1!$A$2:$A$5</c:f>
              <c:strCache>
                <c:ptCount val="4"/>
                <c:pt idx="0">
                  <c:v>Clean Up</c:v>
                </c:pt>
                <c:pt idx="1">
                  <c:v>Damage Risk</c:v>
                </c:pt>
                <c:pt idx="2">
                  <c:v>Positioning Difficulty</c:v>
                </c:pt>
                <c:pt idx="3">
                  <c:v>Othe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12</c:v>
                </c:pt>
                <c:pt idx="1">
                  <c:v>0.61</c:v>
                </c:pt>
                <c:pt idx="2">
                  <c:v>0.18</c:v>
                </c:pt>
                <c:pt idx="3">
                  <c:v>0.0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15929280"/>
        <c:axId val="410593280"/>
      </c:barChart>
      <c:catAx>
        <c:axId val="415929280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410593280"/>
        <c:crosses val="autoZero"/>
        <c:auto val="1"/>
        <c:lblAlgn val="ctr"/>
        <c:lblOffset val="100"/>
        <c:noMultiLvlLbl val="0"/>
      </c:catAx>
      <c:valAx>
        <c:axId val="410593280"/>
        <c:scaling>
          <c:orientation val="minMax"/>
        </c:scaling>
        <c:delete val="1"/>
        <c:axPos val="b"/>
        <c:majorGridlines/>
        <c:numFmt formatCode="0%" sourceLinked="1"/>
        <c:majorTickMark val="out"/>
        <c:minorTickMark val="none"/>
        <c:tickLblPos val="nextTo"/>
        <c:crossAx val="41592928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 b="1"/>
      </a:pPr>
      <a:endParaRPr lang="en-US"/>
    </a:p>
  </c:txPr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image" Target="../media/image24.png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image" Target="../media/image30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image" Target="../media/image24.pn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image" Target="../media/image3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69E64B0-6588-304D-9DAE-B6A26A12DA05}" type="doc">
      <dgm:prSet loTypeId="urn:microsoft.com/office/officeart/2005/8/layout/pList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37D3AFD-4ED0-444A-A9C4-37D871DBC22C}">
      <dgm:prSet phldrT="[Text]"/>
      <dgm:spPr/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F0306B08-23CB-3F49-A753-DE243A58A219}" type="parTrans" cxnId="{19601ABA-9DB1-6840-BBCB-2F6D2941F61F}">
      <dgm:prSet/>
      <dgm:spPr/>
      <dgm:t>
        <a:bodyPr/>
        <a:lstStyle/>
        <a:p>
          <a:endParaRPr lang="en-US"/>
        </a:p>
      </dgm:t>
    </dgm:pt>
    <dgm:pt modelId="{3AE3EAA2-CF94-5F41-BBD9-CA768F49634E}" type="sibTrans" cxnId="{19601ABA-9DB1-6840-BBCB-2F6D2941F61F}">
      <dgm:prSet/>
      <dgm:spPr/>
      <dgm:t>
        <a:bodyPr/>
        <a:lstStyle/>
        <a:p>
          <a:endParaRPr lang="en-US"/>
        </a:p>
      </dgm:t>
    </dgm:pt>
    <dgm:pt modelId="{F9091D90-D9FF-A94C-8995-61D9CC3066A0}">
      <dgm:prSet phldrT="[Text]"/>
      <dgm:spPr/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EB217453-9B25-3C4E-9BBC-4E12C9588F43}" type="parTrans" cxnId="{5965EB44-96F0-BE4D-8363-5B49EB74416E}">
      <dgm:prSet/>
      <dgm:spPr/>
      <dgm:t>
        <a:bodyPr/>
        <a:lstStyle/>
        <a:p>
          <a:endParaRPr lang="en-US"/>
        </a:p>
      </dgm:t>
    </dgm:pt>
    <dgm:pt modelId="{31503B9F-7496-354C-A475-074CD436AEBD}" type="sibTrans" cxnId="{5965EB44-96F0-BE4D-8363-5B49EB74416E}">
      <dgm:prSet/>
      <dgm:spPr/>
      <dgm:t>
        <a:bodyPr/>
        <a:lstStyle/>
        <a:p>
          <a:endParaRPr lang="en-US"/>
        </a:p>
      </dgm:t>
    </dgm:pt>
    <dgm:pt modelId="{9DD5BE5A-EF71-FD46-807F-9FCC78125BF4}">
      <dgm:prSet phldrT="[Text]"/>
      <dgm:spPr/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12F61AD0-C2C2-FF4A-A18F-4A097B19F36A}" type="parTrans" cxnId="{46B59C2F-1611-7F49-B611-BEF79C02FEA8}">
      <dgm:prSet/>
      <dgm:spPr/>
      <dgm:t>
        <a:bodyPr/>
        <a:lstStyle/>
        <a:p>
          <a:endParaRPr lang="en-US"/>
        </a:p>
      </dgm:t>
    </dgm:pt>
    <dgm:pt modelId="{CACC0F8E-8A0B-B842-9258-C8D209653FFD}" type="sibTrans" cxnId="{46B59C2F-1611-7F49-B611-BEF79C02FEA8}">
      <dgm:prSet/>
      <dgm:spPr/>
      <dgm:t>
        <a:bodyPr/>
        <a:lstStyle/>
        <a:p>
          <a:endParaRPr lang="en-US"/>
        </a:p>
      </dgm:t>
    </dgm:pt>
    <dgm:pt modelId="{14287157-CB8D-1C4A-895E-17CD51B606D3}">
      <dgm:prSet phldrT="[Text]"/>
      <dgm:spPr/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201C1B15-70E7-0647-BFF9-0097DB3D819E}" type="parTrans" cxnId="{38C763E1-25C2-B44C-8B49-4BEFAC610ECA}">
      <dgm:prSet/>
      <dgm:spPr/>
      <dgm:t>
        <a:bodyPr/>
        <a:lstStyle/>
        <a:p>
          <a:endParaRPr lang="en-US"/>
        </a:p>
      </dgm:t>
    </dgm:pt>
    <dgm:pt modelId="{1D696CDA-8A53-2343-A864-21B91BAC6F6C}" type="sibTrans" cxnId="{38C763E1-25C2-B44C-8B49-4BEFAC610ECA}">
      <dgm:prSet/>
      <dgm:spPr/>
      <dgm:t>
        <a:bodyPr/>
        <a:lstStyle/>
        <a:p>
          <a:endParaRPr lang="en-US"/>
        </a:p>
      </dgm:t>
    </dgm:pt>
    <dgm:pt modelId="{5A334FD2-A40E-FF49-BE3D-E836B94C233A}" type="pres">
      <dgm:prSet presAssocID="{369E64B0-6588-304D-9DAE-B6A26A12DA05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BD115B2-43AC-B643-9477-BE5E11DE4019}" type="pres">
      <dgm:prSet presAssocID="{A37D3AFD-4ED0-444A-A9C4-37D871DBC22C}" presName="compNode" presStyleCnt="0"/>
      <dgm:spPr/>
    </dgm:pt>
    <dgm:pt modelId="{BEF02CCB-5128-424F-9C19-D89A480F6FC9}" type="pres">
      <dgm:prSet presAssocID="{A37D3AFD-4ED0-444A-A9C4-37D871DBC22C}" presName="pictRect" presStyleLbl="node1" presStyleIdx="0" presStyleCnt="4" custScaleX="625655" custScaleY="524335" custLinFactNeighborX="1722" custLinFactNeighborY="-3761"/>
      <dgm:spPr>
        <a:blipFill rotWithShape="1">
          <a:blip xmlns:r="http://schemas.openxmlformats.org/officeDocument/2006/relationships" r:embed="rId1"/>
          <a:stretch>
            <a:fillRect/>
          </a:stretch>
        </a:blipFill>
        <a:ln w="38100" cmpd="sng">
          <a:solidFill>
            <a:schemeClr val="tx1"/>
          </a:solidFill>
        </a:ln>
      </dgm:spPr>
      <dgm:t>
        <a:bodyPr/>
        <a:lstStyle/>
        <a:p>
          <a:endParaRPr lang="en-US"/>
        </a:p>
      </dgm:t>
    </dgm:pt>
    <dgm:pt modelId="{B784AE01-8B6B-184B-9ECC-9F2E8B7923DA}" type="pres">
      <dgm:prSet presAssocID="{A37D3AFD-4ED0-444A-A9C4-37D871DBC22C}" presName="textRect" presStyleLbl="revTx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0067AC1-3C77-044E-B216-60587D51F60A}" type="pres">
      <dgm:prSet presAssocID="{3AE3EAA2-CF94-5F41-BBD9-CA768F49634E}" presName="sibTrans" presStyleLbl="sibTrans2D1" presStyleIdx="0" presStyleCnt="0"/>
      <dgm:spPr/>
      <dgm:t>
        <a:bodyPr/>
        <a:lstStyle/>
        <a:p>
          <a:endParaRPr lang="en-US"/>
        </a:p>
      </dgm:t>
    </dgm:pt>
    <dgm:pt modelId="{99DAC1D9-669D-114B-96F6-4D8D228A697B}" type="pres">
      <dgm:prSet presAssocID="{F9091D90-D9FF-A94C-8995-61D9CC3066A0}" presName="compNode" presStyleCnt="0"/>
      <dgm:spPr/>
    </dgm:pt>
    <dgm:pt modelId="{43AD69F1-D501-D241-8BA6-6D78C243DB97}" type="pres">
      <dgm:prSet presAssocID="{F9091D90-D9FF-A94C-8995-61D9CC3066A0}" presName="pictRect" presStyleLbl="node1" presStyleIdx="1" presStyleCnt="4" custScaleX="625655" custScaleY="524335" custLinFactNeighborX="3336" custLinFactNeighborY="-90"/>
      <dgm:spPr>
        <a:blipFill rotWithShape="1">
          <a:blip xmlns:r="http://schemas.openxmlformats.org/officeDocument/2006/relationships" r:embed="rId2"/>
          <a:stretch>
            <a:fillRect/>
          </a:stretch>
        </a:blipFill>
        <a:ln w="38100" cmpd="sng">
          <a:solidFill>
            <a:schemeClr val="tx1"/>
          </a:solidFill>
        </a:ln>
      </dgm:spPr>
    </dgm:pt>
    <dgm:pt modelId="{EE4582FF-F30F-1747-877A-E64284A0D780}" type="pres">
      <dgm:prSet presAssocID="{F9091D90-D9FF-A94C-8995-61D9CC3066A0}" presName="textRect" presStyleLbl="revTx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10372B4-433E-224E-A52A-453C02226062}" type="pres">
      <dgm:prSet presAssocID="{31503B9F-7496-354C-A475-074CD436AEBD}" presName="sibTrans" presStyleLbl="sibTrans2D1" presStyleIdx="0" presStyleCnt="0"/>
      <dgm:spPr/>
      <dgm:t>
        <a:bodyPr/>
        <a:lstStyle/>
        <a:p>
          <a:endParaRPr lang="en-US"/>
        </a:p>
      </dgm:t>
    </dgm:pt>
    <dgm:pt modelId="{19554BD5-28EF-2D41-9CB4-56949F9913EF}" type="pres">
      <dgm:prSet presAssocID="{9DD5BE5A-EF71-FD46-807F-9FCC78125BF4}" presName="compNode" presStyleCnt="0"/>
      <dgm:spPr/>
    </dgm:pt>
    <dgm:pt modelId="{A17D7F43-3BA9-7D43-8C4A-E1E017B5EB31}" type="pres">
      <dgm:prSet presAssocID="{9DD5BE5A-EF71-FD46-807F-9FCC78125BF4}" presName="pictRect" presStyleLbl="node1" presStyleIdx="2" presStyleCnt="4" custScaleX="625655" custScaleY="536468" custLinFactNeighborX="-733" custLinFactNeighborY="3432"/>
      <dgm:spPr>
        <a:blipFill rotWithShape="1">
          <a:blip xmlns:r="http://schemas.openxmlformats.org/officeDocument/2006/relationships" r:embed="rId3"/>
          <a:stretch>
            <a:fillRect/>
          </a:stretch>
        </a:blipFill>
        <a:ln w="38100" cmpd="sng">
          <a:solidFill>
            <a:schemeClr val="tx1"/>
          </a:solidFill>
        </a:ln>
      </dgm:spPr>
    </dgm:pt>
    <dgm:pt modelId="{148E02B1-3E25-0445-A352-1656A27DB548}" type="pres">
      <dgm:prSet presAssocID="{9DD5BE5A-EF71-FD46-807F-9FCC78125BF4}" presName="textRect" presStyleLbl="revTx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A28518C-AD95-AF48-8BD9-2846CEDC98E3}" type="pres">
      <dgm:prSet presAssocID="{CACC0F8E-8A0B-B842-9258-C8D209653FFD}" presName="sibTrans" presStyleLbl="sibTrans2D1" presStyleIdx="0" presStyleCnt="0"/>
      <dgm:spPr/>
      <dgm:t>
        <a:bodyPr/>
        <a:lstStyle/>
        <a:p>
          <a:endParaRPr lang="en-US"/>
        </a:p>
      </dgm:t>
    </dgm:pt>
    <dgm:pt modelId="{2699A846-445F-A146-80EC-817D619DDF80}" type="pres">
      <dgm:prSet presAssocID="{14287157-CB8D-1C4A-895E-17CD51B606D3}" presName="compNode" presStyleCnt="0"/>
      <dgm:spPr/>
    </dgm:pt>
    <dgm:pt modelId="{392F9320-793B-3242-8C02-C563460D7155}" type="pres">
      <dgm:prSet presAssocID="{14287157-CB8D-1C4A-895E-17CD51B606D3}" presName="pictRect" presStyleLbl="node1" presStyleIdx="3" presStyleCnt="4" custScaleX="625655" custScaleY="536468" custLinFactNeighborX="881" custLinFactNeighborY="90"/>
      <dgm:spPr>
        <a:blipFill rotWithShape="1">
          <a:blip xmlns:r="http://schemas.openxmlformats.org/officeDocument/2006/relationships" r:embed="rId4"/>
          <a:stretch>
            <a:fillRect/>
          </a:stretch>
        </a:blipFill>
        <a:ln w="38100" cmpd="sng">
          <a:solidFill>
            <a:schemeClr val="tx1"/>
          </a:solidFill>
        </a:ln>
      </dgm:spPr>
    </dgm:pt>
    <dgm:pt modelId="{B8A77E64-F1E1-3749-88F0-577AE46347A1}" type="pres">
      <dgm:prSet presAssocID="{14287157-CB8D-1C4A-895E-17CD51B606D3}" presName="textRect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9D68E68-572A-5047-96FC-F77D9CF5B093}" type="presOf" srcId="{369E64B0-6588-304D-9DAE-B6A26A12DA05}" destId="{5A334FD2-A40E-FF49-BE3D-E836B94C233A}" srcOrd="0" destOrd="0" presId="urn:microsoft.com/office/officeart/2005/8/layout/pList1"/>
    <dgm:cxn modelId="{CF5CC691-40BF-3742-9EED-409ED34B1C05}" type="presOf" srcId="{F9091D90-D9FF-A94C-8995-61D9CC3066A0}" destId="{EE4582FF-F30F-1747-877A-E64284A0D780}" srcOrd="0" destOrd="0" presId="urn:microsoft.com/office/officeart/2005/8/layout/pList1"/>
    <dgm:cxn modelId="{BB7D3BDD-1212-4A47-8760-F607A715E67A}" type="presOf" srcId="{31503B9F-7496-354C-A475-074CD436AEBD}" destId="{110372B4-433E-224E-A52A-453C02226062}" srcOrd="0" destOrd="0" presId="urn:microsoft.com/office/officeart/2005/8/layout/pList1"/>
    <dgm:cxn modelId="{19601ABA-9DB1-6840-BBCB-2F6D2941F61F}" srcId="{369E64B0-6588-304D-9DAE-B6A26A12DA05}" destId="{A37D3AFD-4ED0-444A-A9C4-37D871DBC22C}" srcOrd="0" destOrd="0" parTransId="{F0306B08-23CB-3F49-A753-DE243A58A219}" sibTransId="{3AE3EAA2-CF94-5F41-BBD9-CA768F49634E}"/>
    <dgm:cxn modelId="{5965EB44-96F0-BE4D-8363-5B49EB74416E}" srcId="{369E64B0-6588-304D-9DAE-B6A26A12DA05}" destId="{F9091D90-D9FF-A94C-8995-61D9CC3066A0}" srcOrd="1" destOrd="0" parTransId="{EB217453-9B25-3C4E-9BBC-4E12C9588F43}" sibTransId="{31503B9F-7496-354C-A475-074CD436AEBD}"/>
    <dgm:cxn modelId="{D7EBB935-AAC7-BE4A-8CB9-FEFD289F337C}" type="presOf" srcId="{14287157-CB8D-1C4A-895E-17CD51B606D3}" destId="{B8A77E64-F1E1-3749-88F0-577AE46347A1}" srcOrd="0" destOrd="0" presId="urn:microsoft.com/office/officeart/2005/8/layout/pList1"/>
    <dgm:cxn modelId="{0087AC53-A0DF-014C-8EBB-12AC723A73C1}" type="presOf" srcId="{A37D3AFD-4ED0-444A-A9C4-37D871DBC22C}" destId="{B784AE01-8B6B-184B-9ECC-9F2E8B7923DA}" srcOrd="0" destOrd="0" presId="urn:microsoft.com/office/officeart/2005/8/layout/pList1"/>
    <dgm:cxn modelId="{46B59C2F-1611-7F49-B611-BEF79C02FEA8}" srcId="{369E64B0-6588-304D-9DAE-B6A26A12DA05}" destId="{9DD5BE5A-EF71-FD46-807F-9FCC78125BF4}" srcOrd="2" destOrd="0" parTransId="{12F61AD0-C2C2-FF4A-A18F-4A097B19F36A}" sibTransId="{CACC0F8E-8A0B-B842-9258-C8D209653FFD}"/>
    <dgm:cxn modelId="{38C763E1-25C2-B44C-8B49-4BEFAC610ECA}" srcId="{369E64B0-6588-304D-9DAE-B6A26A12DA05}" destId="{14287157-CB8D-1C4A-895E-17CD51B606D3}" srcOrd="3" destOrd="0" parTransId="{201C1B15-70E7-0647-BFF9-0097DB3D819E}" sibTransId="{1D696CDA-8A53-2343-A864-21B91BAC6F6C}"/>
    <dgm:cxn modelId="{09DDC90E-5AC4-7940-A055-3E316B373397}" type="presOf" srcId="{CACC0F8E-8A0B-B842-9258-C8D209653FFD}" destId="{7A28518C-AD95-AF48-8BD9-2846CEDC98E3}" srcOrd="0" destOrd="0" presId="urn:microsoft.com/office/officeart/2005/8/layout/pList1"/>
    <dgm:cxn modelId="{75C340F0-358F-4446-A7BC-CB30E214404F}" type="presOf" srcId="{9DD5BE5A-EF71-FD46-807F-9FCC78125BF4}" destId="{148E02B1-3E25-0445-A352-1656A27DB548}" srcOrd="0" destOrd="0" presId="urn:microsoft.com/office/officeart/2005/8/layout/pList1"/>
    <dgm:cxn modelId="{6631278A-C93A-C846-A992-C164F9C7E3F1}" type="presOf" srcId="{3AE3EAA2-CF94-5F41-BBD9-CA768F49634E}" destId="{70067AC1-3C77-044E-B216-60587D51F60A}" srcOrd="0" destOrd="0" presId="urn:microsoft.com/office/officeart/2005/8/layout/pList1"/>
    <dgm:cxn modelId="{4F41DF33-9B77-A241-9B6A-7746DDA96834}" type="presParOf" srcId="{5A334FD2-A40E-FF49-BE3D-E836B94C233A}" destId="{FBD115B2-43AC-B643-9477-BE5E11DE4019}" srcOrd="0" destOrd="0" presId="urn:microsoft.com/office/officeart/2005/8/layout/pList1"/>
    <dgm:cxn modelId="{709DD00E-6A6E-5B4B-B95B-B59DE3A0A6E7}" type="presParOf" srcId="{FBD115B2-43AC-B643-9477-BE5E11DE4019}" destId="{BEF02CCB-5128-424F-9C19-D89A480F6FC9}" srcOrd="0" destOrd="0" presId="urn:microsoft.com/office/officeart/2005/8/layout/pList1"/>
    <dgm:cxn modelId="{83CC8A7E-97A1-B64A-A86A-D1C0285C27B0}" type="presParOf" srcId="{FBD115B2-43AC-B643-9477-BE5E11DE4019}" destId="{B784AE01-8B6B-184B-9ECC-9F2E8B7923DA}" srcOrd="1" destOrd="0" presId="urn:microsoft.com/office/officeart/2005/8/layout/pList1"/>
    <dgm:cxn modelId="{24FB93FE-3ED6-5944-A937-EFAA5EFA9860}" type="presParOf" srcId="{5A334FD2-A40E-FF49-BE3D-E836B94C233A}" destId="{70067AC1-3C77-044E-B216-60587D51F60A}" srcOrd="1" destOrd="0" presId="urn:microsoft.com/office/officeart/2005/8/layout/pList1"/>
    <dgm:cxn modelId="{2B517798-1D1C-7A47-A226-4942AAE1E6FF}" type="presParOf" srcId="{5A334FD2-A40E-FF49-BE3D-E836B94C233A}" destId="{99DAC1D9-669D-114B-96F6-4D8D228A697B}" srcOrd="2" destOrd="0" presId="urn:microsoft.com/office/officeart/2005/8/layout/pList1"/>
    <dgm:cxn modelId="{F51C8861-72B3-1244-9E85-08B95537C5A7}" type="presParOf" srcId="{99DAC1D9-669D-114B-96F6-4D8D228A697B}" destId="{43AD69F1-D501-D241-8BA6-6D78C243DB97}" srcOrd="0" destOrd="0" presId="urn:microsoft.com/office/officeart/2005/8/layout/pList1"/>
    <dgm:cxn modelId="{F71AE968-7002-C147-99BA-08541EF0472A}" type="presParOf" srcId="{99DAC1D9-669D-114B-96F6-4D8D228A697B}" destId="{EE4582FF-F30F-1747-877A-E64284A0D780}" srcOrd="1" destOrd="0" presId="urn:microsoft.com/office/officeart/2005/8/layout/pList1"/>
    <dgm:cxn modelId="{0B3D399F-2502-6144-B7E0-14DBAE59F8F7}" type="presParOf" srcId="{5A334FD2-A40E-FF49-BE3D-E836B94C233A}" destId="{110372B4-433E-224E-A52A-453C02226062}" srcOrd="3" destOrd="0" presId="urn:microsoft.com/office/officeart/2005/8/layout/pList1"/>
    <dgm:cxn modelId="{D0C1C8D8-DD31-484B-9BDF-588D8F0E3244}" type="presParOf" srcId="{5A334FD2-A40E-FF49-BE3D-E836B94C233A}" destId="{19554BD5-28EF-2D41-9CB4-56949F9913EF}" srcOrd="4" destOrd="0" presId="urn:microsoft.com/office/officeart/2005/8/layout/pList1"/>
    <dgm:cxn modelId="{919EEB75-85E0-E54C-86EA-1242F38EF904}" type="presParOf" srcId="{19554BD5-28EF-2D41-9CB4-56949F9913EF}" destId="{A17D7F43-3BA9-7D43-8C4A-E1E017B5EB31}" srcOrd="0" destOrd="0" presId="urn:microsoft.com/office/officeart/2005/8/layout/pList1"/>
    <dgm:cxn modelId="{E91E8F51-D952-7240-A9DC-A6CDB14538EE}" type="presParOf" srcId="{19554BD5-28EF-2D41-9CB4-56949F9913EF}" destId="{148E02B1-3E25-0445-A352-1656A27DB548}" srcOrd="1" destOrd="0" presId="urn:microsoft.com/office/officeart/2005/8/layout/pList1"/>
    <dgm:cxn modelId="{A9C7024B-4AFE-5F42-8206-5479BC825901}" type="presParOf" srcId="{5A334FD2-A40E-FF49-BE3D-E836B94C233A}" destId="{7A28518C-AD95-AF48-8BD9-2846CEDC98E3}" srcOrd="5" destOrd="0" presId="urn:microsoft.com/office/officeart/2005/8/layout/pList1"/>
    <dgm:cxn modelId="{6E1924FD-7FA9-1147-A9E9-1EAD0C5317E8}" type="presParOf" srcId="{5A334FD2-A40E-FF49-BE3D-E836B94C233A}" destId="{2699A846-445F-A146-80EC-817D619DDF80}" srcOrd="6" destOrd="0" presId="urn:microsoft.com/office/officeart/2005/8/layout/pList1"/>
    <dgm:cxn modelId="{3E2276D4-8336-4C40-A4D4-078CB4297188}" type="presParOf" srcId="{2699A846-445F-A146-80EC-817D619DDF80}" destId="{392F9320-793B-3242-8C02-C563460D7155}" srcOrd="0" destOrd="0" presId="urn:microsoft.com/office/officeart/2005/8/layout/pList1"/>
    <dgm:cxn modelId="{6D19C84B-D872-F747-9BE9-A77D9D140E6F}" type="presParOf" srcId="{2699A846-445F-A146-80EC-817D619DDF80}" destId="{B8A77E64-F1E1-3749-88F0-577AE46347A1}" srcOrd="1" destOrd="0" presId="urn:microsoft.com/office/officeart/2005/8/layout/p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D418944-7D2E-7740-AA9A-23E731830B65}" type="doc">
      <dgm:prSet loTypeId="urn:microsoft.com/office/officeart/2005/8/layout/cycle4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785FC11-899E-E941-923A-C5EF6E29ABA1}">
      <dgm:prSet phldrT="[Text]" custT="1"/>
      <dgm:spPr>
        <a:noFill/>
        <a:ln w="57150" cmpd="sng">
          <a:solidFill>
            <a:schemeClr val="tx2">
              <a:lumMod val="75000"/>
            </a:schemeClr>
          </a:solidFill>
        </a:ln>
      </dgm:spPr>
      <dgm:t>
        <a:bodyPr/>
        <a:lstStyle/>
        <a:p>
          <a:endParaRPr lang="en-US" sz="3200" dirty="0"/>
        </a:p>
      </dgm:t>
    </dgm:pt>
    <dgm:pt modelId="{3FBA5D85-38B5-A24B-8D37-4768CBF45108}" type="parTrans" cxnId="{A745FE7B-EF51-C446-8F30-5C94DFDFF04E}">
      <dgm:prSet/>
      <dgm:spPr/>
      <dgm:t>
        <a:bodyPr/>
        <a:lstStyle/>
        <a:p>
          <a:endParaRPr lang="en-US"/>
        </a:p>
      </dgm:t>
    </dgm:pt>
    <dgm:pt modelId="{9639E98C-1C90-5143-98C4-B8CBC579F84B}" type="sibTrans" cxnId="{A745FE7B-EF51-C446-8F30-5C94DFDFF04E}">
      <dgm:prSet/>
      <dgm:spPr/>
      <dgm:t>
        <a:bodyPr/>
        <a:lstStyle/>
        <a:p>
          <a:endParaRPr lang="en-US"/>
        </a:p>
      </dgm:t>
    </dgm:pt>
    <dgm:pt modelId="{FD9307FE-4097-6042-9DE5-8470437DC5B1}">
      <dgm:prSet phldrT="[Text]" phldr="1"/>
      <dgm:spPr>
        <a:noFill/>
        <a:ln w="57150" cmpd="sng">
          <a:solidFill>
            <a:schemeClr val="tx2">
              <a:lumMod val="75000"/>
            </a:schemeClr>
          </a:solidFill>
        </a:ln>
      </dgm:spPr>
      <dgm:t>
        <a:bodyPr/>
        <a:lstStyle/>
        <a:p>
          <a:endParaRPr lang="en-US" dirty="0"/>
        </a:p>
      </dgm:t>
    </dgm:pt>
    <dgm:pt modelId="{47EBFD85-A788-F24C-8644-128E9D2378F8}" type="parTrans" cxnId="{9023A61D-C155-D447-908A-4B1D5CAD78DB}">
      <dgm:prSet/>
      <dgm:spPr/>
      <dgm:t>
        <a:bodyPr/>
        <a:lstStyle/>
        <a:p>
          <a:endParaRPr lang="en-US"/>
        </a:p>
      </dgm:t>
    </dgm:pt>
    <dgm:pt modelId="{61ED9F6E-D8A2-964A-A29A-E7242C8A04AC}" type="sibTrans" cxnId="{9023A61D-C155-D447-908A-4B1D5CAD78DB}">
      <dgm:prSet/>
      <dgm:spPr/>
      <dgm:t>
        <a:bodyPr/>
        <a:lstStyle/>
        <a:p>
          <a:endParaRPr lang="en-US"/>
        </a:p>
      </dgm:t>
    </dgm:pt>
    <dgm:pt modelId="{3B23B7BC-221F-3846-BFCB-918C705B225D}">
      <dgm:prSet phldrT="[Text]" phldr="1"/>
      <dgm:spPr>
        <a:noFill/>
        <a:ln w="57150" cmpd="sng">
          <a:solidFill>
            <a:schemeClr val="tx2">
              <a:lumMod val="75000"/>
            </a:schemeClr>
          </a:solidFill>
        </a:ln>
      </dgm:spPr>
      <dgm:t>
        <a:bodyPr/>
        <a:lstStyle/>
        <a:p>
          <a:endParaRPr lang="en-US" dirty="0"/>
        </a:p>
      </dgm:t>
    </dgm:pt>
    <dgm:pt modelId="{8A04FF39-7E90-1240-A650-167C4F627E96}" type="parTrans" cxnId="{FE76EB48-3074-3546-9127-F6A485C81364}">
      <dgm:prSet/>
      <dgm:spPr/>
      <dgm:t>
        <a:bodyPr/>
        <a:lstStyle/>
        <a:p>
          <a:endParaRPr lang="en-US"/>
        </a:p>
      </dgm:t>
    </dgm:pt>
    <dgm:pt modelId="{282F3DF5-1B4F-D14B-BF91-B36635F78E44}" type="sibTrans" cxnId="{FE76EB48-3074-3546-9127-F6A485C81364}">
      <dgm:prSet/>
      <dgm:spPr/>
      <dgm:t>
        <a:bodyPr/>
        <a:lstStyle/>
        <a:p>
          <a:endParaRPr lang="en-US"/>
        </a:p>
      </dgm:t>
    </dgm:pt>
    <dgm:pt modelId="{2F824A2C-4585-5A4D-B5AF-96AA18E90841}">
      <dgm:prSet phldrT="[Text]" phldr="1"/>
      <dgm:spPr>
        <a:noFill/>
        <a:ln w="57150" cmpd="sng">
          <a:solidFill>
            <a:schemeClr val="tx2">
              <a:lumMod val="75000"/>
            </a:schemeClr>
          </a:solidFill>
        </a:ln>
      </dgm:spPr>
      <dgm:t>
        <a:bodyPr/>
        <a:lstStyle/>
        <a:p>
          <a:endParaRPr lang="en-US" dirty="0"/>
        </a:p>
      </dgm:t>
    </dgm:pt>
    <dgm:pt modelId="{57518103-0E88-2B40-B316-9058F3598B51}" type="parTrans" cxnId="{7088201E-7319-3342-93B7-0387A8A77271}">
      <dgm:prSet/>
      <dgm:spPr/>
      <dgm:t>
        <a:bodyPr/>
        <a:lstStyle/>
        <a:p>
          <a:endParaRPr lang="en-US"/>
        </a:p>
      </dgm:t>
    </dgm:pt>
    <dgm:pt modelId="{F3C70D5E-153B-2148-912D-AAA1723B5550}" type="sibTrans" cxnId="{7088201E-7319-3342-93B7-0387A8A77271}">
      <dgm:prSet/>
      <dgm:spPr/>
      <dgm:t>
        <a:bodyPr/>
        <a:lstStyle/>
        <a:p>
          <a:endParaRPr lang="en-US"/>
        </a:p>
      </dgm:t>
    </dgm:pt>
    <dgm:pt modelId="{CBE651C9-972A-C54E-9339-EEEE690E11D3}">
      <dgm:prSet phldrT="[Text]" custScaleX="85902" custLinFactNeighborX="-16104" custLinFactNeighborY="9006"/>
      <dgm:spPr/>
      <dgm:t>
        <a:bodyPr/>
        <a:lstStyle/>
        <a:p>
          <a:endParaRPr lang="en-US" dirty="0"/>
        </a:p>
      </dgm:t>
    </dgm:pt>
    <dgm:pt modelId="{C1AA9E3E-11EB-D04B-A6F4-016AF8CCBD51}" type="parTrans" cxnId="{375CA602-CB52-E047-ADBC-83F18C213139}">
      <dgm:prSet/>
      <dgm:spPr/>
      <dgm:t>
        <a:bodyPr/>
        <a:lstStyle/>
        <a:p>
          <a:endParaRPr lang="en-US"/>
        </a:p>
      </dgm:t>
    </dgm:pt>
    <dgm:pt modelId="{3E8C563D-D877-4444-A2C0-D01B9028963E}" type="sibTrans" cxnId="{375CA602-CB52-E047-ADBC-83F18C213139}">
      <dgm:prSet/>
      <dgm:spPr/>
      <dgm:t>
        <a:bodyPr/>
        <a:lstStyle/>
        <a:p>
          <a:endParaRPr lang="en-US"/>
        </a:p>
      </dgm:t>
    </dgm:pt>
    <dgm:pt modelId="{55D043F9-64F3-F349-814B-C8A76D937B54}" type="pres">
      <dgm:prSet presAssocID="{FD418944-7D2E-7740-AA9A-23E731830B65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5ACB50C-9786-3B41-ACC5-B0CA59D840F5}" type="pres">
      <dgm:prSet presAssocID="{FD418944-7D2E-7740-AA9A-23E731830B65}" presName="children" presStyleCnt="0"/>
      <dgm:spPr/>
    </dgm:pt>
    <dgm:pt modelId="{A6CBADED-BC47-6F42-8399-CB3A7B052F8B}" type="pres">
      <dgm:prSet presAssocID="{FD418944-7D2E-7740-AA9A-23E731830B65}" presName="childPlaceholder" presStyleCnt="0"/>
      <dgm:spPr/>
    </dgm:pt>
    <dgm:pt modelId="{F4C10DD6-7B4F-284A-873A-0BEDBCC021AE}" type="pres">
      <dgm:prSet presAssocID="{FD418944-7D2E-7740-AA9A-23E731830B65}" presName="circle" presStyleCnt="0"/>
      <dgm:spPr/>
    </dgm:pt>
    <dgm:pt modelId="{86278BB3-3A37-D14F-9BCC-C4B53069AD1B}" type="pres">
      <dgm:prSet presAssocID="{FD418944-7D2E-7740-AA9A-23E731830B65}" presName="quadrant1" presStyleLbl="node1" presStyleIdx="0" presStyleCnt="4" custScaleX="146959" custLinFactNeighborX="-24312" custLinFactNeighborY="3181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A8BD8A5-879A-F145-A161-B346CB456C69}" type="pres">
      <dgm:prSet presAssocID="{FD418944-7D2E-7740-AA9A-23E731830B65}" presName="quadrant2" presStyleLbl="node1" presStyleIdx="1" presStyleCnt="4" custScaleX="150693" custLinFactNeighborX="24320" custLinFactNeighborY="313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60018D5-58BE-554B-AFE8-E3BF41E5A1B6}" type="pres">
      <dgm:prSet presAssocID="{FD418944-7D2E-7740-AA9A-23E731830B65}" presName="quadrant3" presStyleLbl="node1" presStyleIdx="2" presStyleCnt="4" custScaleX="150693" custLinFactNeighborX="24320" custLinFactNeighborY="313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927E051-309B-214C-98F9-E624C07F7C34}" type="pres">
      <dgm:prSet presAssocID="{FD418944-7D2E-7740-AA9A-23E731830B65}" presName="quadrant4" presStyleLbl="node1" presStyleIdx="3" presStyleCnt="4" custScaleX="146959" custLinFactNeighborX="-24312" custLinFactNeighborY="3181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3EA1F88-2F71-A640-A722-5C4720A30F3E}" type="pres">
      <dgm:prSet presAssocID="{FD418944-7D2E-7740-AA9A-23E731830B65}" presName="quadrantPlaceholder" presStyleCnt="0"/>
      <dgm:spPr/>
    </dgm:pt>
    <dgm:pt modelId="{08A111A1-DD1B-A74E-9977-E1ACA0899799}" type="pres">
      <dgm:prSet presAssocID="{FD418944-7D2E-7740-AA9A-23E731830B65}" presName="center1" presStyleLbl="fgShp" presStyleIdx="0" presStyleCnt="2"/>
      <dgm:spPr>
        <a:noFill/>
      </dgm:spPr>
    </dgm:pt>
    <dgm:pt modelId="{03DD8867-DC05-A549-8C8B-CADA2F316C93}" type="pres">
      <dgm:prSet presAssocID="{FD418944-7D2E-7740-AA9A-23E731830B65}" presName="center2" presStyleLbl="fgShp" presStyleIdx="1" presStyleCnt="2"/>
      <dgm:spPr>
        <a:noFill/>
      </dgm:spPr>
    </dgm:pt>
  </dgm:ptLst>
  <dgm:cxnLst>
    <dgm:cxn modelId="{7088201E-7319-3342-93B7-0387A8A77271}" srcId="{FD418944-7D2E-7740-AA9A-23E731830B65}" destId="{2F824A2C-4585-5A4D-B5AF-96AA18E90841}" srcOrd="3" destOrd="0" parTransId="{57518103-0E88-2B40-B316-9058F3598B51}" sibTransId="{F3C70D5E-153B-2148-912D-AAA1723B5550}"/>
    <dgm:cxn modelId="{072D32F0-8A96-5A4C-ADB6-870DFB0418F7}" type="presOf" srcId="{3B23B7BC-221F-3846-BFCB-918C705B225D}" destId="{D60018D5-58BE-554B-AFE8-E3BF41E5A1B6}" srcOrd="0" destOrd="0" presId="urn:microsoft.com/office/officeart/2005/8/layout/cycle4"/>
    <dgm:cxn modelId="{A745FE7B-EF51-C446-8F30-5C94DFDFF04E}" srcId="{FD418944-7D2E-7740-AA9A-23E731830B65}" destId="{0785FC11-899E-E941-923A-C5EF6E29ABA1}" srcOrd="0" destOrd="0" parTransId="{3FBA5D85-38B5-A24B-8D37-4768CBF45108}" sibTransId="{9639E98C-1C90-5143-98C4-B8CBC579F84B}"/>
    <dgm:cxn modelId="{9023A61D-C155-D447-908A-4B1D5CAD78DB}" srcId="{FD418944-7D2E-7740-AA9A-23E731830B65}" destId="{FD9307FE-4097-6042-9DE5-8470437DC5B1}" srcOrd="1" destOrd="0" parTransId="{47EBFD85-A788-F24C-8644-128E9D2378F8}" sibTransId="{61ED9F6E-D8A2-964A-A29A-E7242C8A04AC}"/>
    <dgm:cxn modelId="{FE76EB48-3074-3546-9127-F6A485C81364}" srcId="{FD418944-7D2E-7740-AA9A-23E731830B65}" destId="{3B23B7BC-221F-3846-BFCB-918C705B225D}" srcOrd="2" destOrd="0" parTransId="{8A04FF39-7E90-1240-A650-167C4F627E96}" sibTransId="{282F3DF5-1B4F-D14B-BF91-B36635F78E44}"/>
    <dgm:cxn modelId="{C8C43351-0D8A-4A48-BD67-B754FB4AC6B1}" type="presOf" srcId="{FD418944-7D2E-7740-AA9A-23E731830B65}" destId="{55D043F9-64F3-F349-814B-C8A76D937B54}" srcOrd="0" destOrd="0" presId="urn:microsoft.com/office/officeart/2005/8/layout/cycle4"/>
    <dgm:cxn modelId="{FA909D2C-FC60-134C-A74C-3A89CE8A46D3}" type="presOf" srcId="{FD9307FE-4097-6042-9DE5-8470437DC5B1}" destId="{AA8BD8A5-879A-F145-A161-B346CB456C69}" srcOrd="0" destOrd="0" presId="urn:microsoft.com/office/officeart/2005/8/layout/cycle4"/>
    <dgm:cxn modelId="{375CA602-CB52-E047-ADBC-83F18C213139}" srcId="{FD418944-7D2E-7740-AA9A-23E731830B65}" destId="{CBE651C9-972A-C54E-9339-EEEE690E11D3}" srcOrd="4" destOrd="0" parTransId="{C1AA9E3E-11EB-D04B-A6F4-016AF8CCBD51}" sibTransId="{3E8C563D-D877-4444-A2C0-D01B9028963E}"/>
    <dgm:cxn modelId="{2B6AC88B-752B-6948-9A01-8AD49117C3C8}" type="presOf" srcId="{2F824A2C-4585-5A4D-B5AF-96AA18E90841}" destId="{9927E051-309B-214C-98F9-E624C07F7C34}" srcOrd="0" destOrd="0" presId="urn:microsoft.com/office/officeart/2005/8/layout/cycle4"/>
    <dgm:cxn modelId="{F2E77A5D-0A88-3A42-A498-4BCB3F9CE97A}" type="presOf" srcId="{0785FC11-899E-E941-923A-C5EF6E29ABA1}" destId="{86278BB3-3A37-D14F-9BCC-C4B53069AD1B}" srcOrd="0" destOrd="0" presId="urn:microsoft.com/office/officeart/2005/8/layout/cycle4"/>
    <dgm:cxn modelId="{3355B981-02E0-814C-8010-7E8083F03BD7}" type="presParOf" srcId="{55D043F9-64F3-F349-814B-C8A76D937B54}" destId="{05ACB50C-9786-3B41-ACC5-B0CA59D840F5}" srcOrd="0" destOrd="0" presId="urn:microsoft.com/office/officeart/2005/8/layout/cycle4"/>
    <dgm:cxn modelId="{14BDE4F1-25F8-DA46-AEC2-5CCD807AE8F9}" type="presParOf" srcId="{05ACB50C-9786-3B41-ACC5-B0CA59D840F5}" destId="{A6CBADED-BC47-6F42-8399-CB3A7B052F8B}" srcOrd="0" destOrd="0" presId="urn:microsoft.com/office/officeart/2005/8/layout/cycle4"/>
    <dgm:cxn modelId="{C9E5AC69-2E8C-8346-9C3E-A3FDCAD101A5}" type="presParOf" srcId="{55D043F9-64F3-F349-814B-C8A76D937B54}" destId="{F4C10DD6-7B4F-284A-873A-0BEDBCC021AE}" srcOrd="1" destOrd="0" presId="urn:microsoft.com/office/officeart/2005/8/layout/cycle4"/>
    <dgm:cxn modelId="{9B687C0F-7485-7341-BCC1-CB5F81D63D3E}" type="presParOf" srcId="{F4C10DD6-7B4F-284A-873A-0BEDBCC021AE}" destId="{86278BB3-3A37-D14F-9BCC-C4B53069AD1B}" srcOrd="0" destOrd="0" presId="urn:microsoft.com/office/officeart/2005/8/layout/cycle4"/>
    <dgm:cxn modelId="{4B63BA59-2F68-C54F-8E7E-516F8216DBAE}" type="presParOf" srcId="{F4C10DD6-7B4F-284A-873A-0BEDBCC021AE}" destId="{AA8BD8A5-879A-F145-A161-B346CB456C69}" srcOrd="1" destOrd="0" presId="urn:microsoft.com/office/officeart/2005/8/layout/cycle4"/>
    <dgm:cxn modelId="{37D5985C-38B7-7A46-9868-B786565B2BAF}" type="presParOf" srcId="{F4C10DD6-7B4F-284A-873A-0BEDBCC021AE}" destId="{D60018D5-58BE-554B-AFE8-E3BF41E5A1B6}" srcOrd="2" destOrd="0" presId="urn:microsoft.com/office/officeart/2005/8/layout/cycle4"/>
    <dgm:cxn modelId="{4C4A2E55-6B1A-4941-AE64-94DD3AA551BC}" type="presParOf" srcId="{F4C10DD6-7B4F-284A-873A-0BEDBCC021AE}" destId="{9927E051-309B-214C-98F9-E624C07F7C34}" srcOrd="3" destOrd="0" presId="urn:microsoft.com/office/officeart/2005/8/layout/cycle4"/>
    <dgm:cxn modelId="{FECE4DE5-9BAF-9C4E-BEEE-01CE34C6B46E}" type="presParOf" srcId="{F4C10DD6-7B4F-284A-873A-0BEDBCC021AE}" destId="{03EA1F88-2F71-A640-A722-5C4720A30F3E}" srcOrd="4" destOrd="0" presId="urn:microsoft.com/office/officeart/2005/8/layout/cycle4"/>
    <dgm:cxn modelId="{E180E5B5-AB2B-4341-9ECC-579D0AA8BE34}" type="presParOf" srcId="{55D043F9-64F3-F349-814B-C8A76D937B54}" destId="{08A111A1-DD1B-A74E-9977-E1ACA0899799}" srcOrd="2" destOrd="0" presId="urn:microsoft.com/office/officeart/2005/8/layout/cycle4"/>
    <dgm:cxn modelId="{012D5F81-0364-1044-A5A9-C6B9B7BCD20E}" type="presParOf" srcId="{55D043F9-64F3-F349-814B-C8A76D937B54}" destId="{03DD8867-DC05-A549-8C8B-CADA2F316C93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056ED2B-D32D-B24F-82D4-82F1A6D4567B}" type="doc">
      <dgm:prSet loTypeId="urn:microsoft.com/office/officeart/2005/8/layout/vList4" loCatId="" qsTypeId="urn:microsoft.com/office/officeart/2005/8/quickstyle/simple4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A0B8E40A-5ECA-C243-8FFA-78A07FCE57F3}">
      <dgm:prSet phldrT="[Text]" custT="1"/>
      <dgm:spPr/>
      <dgm:t>
        <a:bodyPr/>
        <a:lstStyle/>
        <a:p>
          <a:r>
            <a:rPr lang="en-US" sz="2300" b="1" dirty="0" smtClean="0">
              <a:latin typeface="+mj-lt"/>
              <a:cs typeface="Arial" panose="020B0604020202020204" pitchFamily="34" charset="0"/>
            </a:rPr>
            <a:t>Clean-up</a:t>
          </a:r>
          <a:endParaRPr lang="en-US" sz="2300" b="1" dirty="0">
            <a:latin typeface="+mj-lt"/>
            <a:cs typeface="Arial" panose="020B0604020202020204" pitchFamily="34" charset="0"/>
          </a:endParaRPr>
        </a:p>
      </dgm:t>
    </dgm:pt>
    <dgm:pt modelId="{323C404E-660C-9544-AE0D-657BF2A52835}" type="parTrans" cxnId="{329E7FD1-1F3C-E645-9B56-7FBFE8A0D41E}">
      <dgm:prSet/>
      <dgm:spPr/>
      <dgm:t>
        <a:bodyPr/>
        <a:lstStyle/>
        <a:p>
          <a:endParaRPr lang="en-US"/>
        </a:p>
      </dgm:t>
    </dgm:pt>
    <dgm:pt modelId="{13B3730C-349C-7342-A5D5-CD1115AD5875}" type="sibTrans" cxnId="{329E7FD1-1F3C-E645-9B56-7FBFE8A0D41E}">
      <dgm:prSet/>
      <dgm:spPr/>
      <dgm:t>
        <a:bodyPr/>
        <a:lstStyle/>
        <a:p>
          <a:endParaRPr lang="en-US"/>
        </a:p>
      </dgm:t>
    </dgm:pt>
    <dgm:pt modelId="{FC8D5C18-07DB-934B-9C53-9F11AA412AA0}">
      <dgm:prSet phldrT="[Text]"/>
      <dgm:spPr/>
      <dgm:t>
        <a:bodyPr/>
        <a:lstStyle/>
        <a:p>
          <a:r>
            <a:rPr lang="en-US" sz="1600" dirty="0" smtClean="0">
              <a:latin typeface="+mj-lt"/>
              <a:cs typeface="Arial" panose="020B0604020202020204" pitchFamily="34" charset="0"/>
            </a:rPr>
            <a:t>Millennials hate cleaning up – We want it to be easy and simple</a:t>
          </a:r>
          <a:endParaRPr lang="en-US" sz="1600" dirty="0">
            <a:latin typeface="+mj-lt"/>
            <a:cs typeface="Arial" panose="020B0604020202020204" pitchFamily="34" charset="0"/>
          </a:endParaRPr>
        </a:p>
      </dgm:t>
    </dgm:pt>
    <dgm:pt modelId="{66E55CD5-C800-A649-A54D-E406371D09D8}" type="parTrans" cxnId="{36A4C0D5-A4B2-6140-8E7C-8C90FB27BA2C}">
      <dgm:prSet/>
      <dgm:spPr/>
      <dgm:t>
        <a:bodyPr/>
        <a:lstStyle/>
        <a:p>
          <a:endParaRPr lang="en-US"/>
        </a:p>
      </dgm:t>
    </dgm:pt>
    <dgm:pt modelId="{E89391E0-BFAA-694D-AAF7-7E06634D213A}" type="sibTrans" cxnId="{36A4C0D5-A4B2-6140-8E7C-8C90FB27BA2C}">
      <dgm:prSet/>
      <dgm:spPr/>
      <dgm:t>
        <a:bodyPr/>
        <a:lstStyle/>
        <a:p>
          <a:endParaRPr lang="en-US"/>
        </a:p>
      </dgm:t>
    </dgm:pt>
    <dgm:pt modelId="{000DB457-D67F-754C-931D-C1F95339A16B}">
      <dgm:prSet phldrT="[Text]" custT="1"/>
      <dgm:spPr/>
      <dgm:t>
        <a:bodyPr/>
        <a:lstStyle/>
        <a:p>
          <a:r>
            <a:rPr lang="en-US" sz="2300" b="1" dirty="0" smtClean="0">
              <a:latin typeface="+mj-lt"/>
              <a:cs typeface="Arial" panose="020B0604020202020204" pitchFamily="34" charset="0"/>
            </a:rPr>
            <a:t>Immediacy</a:t>
          </a:r>
          <a:endParaRPr lang="en-US" sz="2300" b="1" dirty="0">
            <a:latin typeface="+mj-lt"/>
            <a:cs typeface="Arial" panose="020B0604020202020204" pitchFamily="34" charset="0"/>
          </a:endParaRPr>
        </a:p>
      </dgm:t>
    </dgm:pt>
    <dgm:pt modelId="{8D3F1E4E-8E74-374B-96FA-E6164A6B5FDF}" type="parTrans" cxnId="{41471BF4-FEFB-7047-93D2-3A325A6A9C3A}">
      <dgm:prSet/>
      <dgm:spPr/>
      <dgm:t>
        <a:bodyPr/>
        <a:lstStyle/>
        <a:p>
          <a:endParaRPr lang="en-US"/>
        </a:p>
      </dgm:t>
    </dgm:pt>
    <dgm:pt modelId="{70F13A66-F82F-FF43-85E0-4DD02131CCB6}" type="sibTrans" cxnId="{41471BF4-FEFB-7047-93D2-3A325A6A9C3A}">
      <dgm:prSet/>
      <dgm:spPr/>
      <dgm:t>
        <a:bodyPr/>
        <a:lstStyle/>
        <a:p>
          <a:endParaRPr lang="en-US"/>
        </a:p>
      </dgm:t>
    </dgm:pt>
    <dgm:pt modelId="{9A4CBF3F-485F-2A47-8238-9E88E680D4A1}">
      <dgm:prSet phldrT="[Text]"/>
      <dgm:spPr/>
      <dgm:t>
        <a:bodyPr/>
        <a:lstStyle/>
        <a:p>
          <a:r>
            <a:rPr lang="en-US" sz="1600" dirty="0" smtClean="0">
              <a:latin typeface="+mj-lt"/>
              <a:cs typeface="Arial" panose="020B0604020202020204" pitchFamily="34" charset="0"/>
            </a:rPr>
            <a:t>Quick access to information – Nothing is more than a google search away</a:t>
          </a:r>
          <a:endParaRPr lang="en-US" sz="1600" dirty="0">
            <a:latin typeface="+mj-lt"/>
            <a:cs typeface="Arial" panose="020B0604020202020204" pitchFamily="34" charset="0"/>
          </a:endParaRPr>
        </a:p>
      </dgm:t>
    </dgm:pt>
    <dgm:pt modelId="{3F742351-E883-2F45-81A7-F6265DF87039}" type="parTrans" cxnId="{68E0B30F-F88F-1144-A9CA-6FA274B1DE10}">
      <dgm:prSet/>
      <dgm:spPr/>
      <dgm:t>
        <a:bodyPr/>
        <a:lstStyle/>
        <a:p>
          <a:endParaRPr lang="en-US"/>
        </a:p>
      </dgm:t>
    </dgm:pt>
    <dgm:pt modelId="{F9AD425A-062D-DC4B-9A0F-15B6E8B7A11D}" type="sibTrans" cxnId="{68E0B30F-F88F-1144-A9CA-6FA274B1DE10}">
      <dgm:prSet/>
      <dgm:spPr/>
      <dgm:t>
        <a:bodyPr/>
        <a:lstStyle/>
        <a:p>
          <a:endParaRPr lang="en-US"/>
        </a:p>
      </dgm:t>
    </dgm:pt>
    <dgm:pt modelId="{DB1A33F9-99C0-BE49-B741-50439D012BC9}">
      <dgm:prSet phldrT="[Text]" custT="1"/>
      <dgm:spPr/>
      <dgm:t>
        <a:bodyPr/>
        <a:lstStyle/>
        <a:p>
          <a:r>
            <a:rPr lang="en-US" sz="2300" b="1" dirty="0" smtClean="0">
              <a:latin typeface="+mj-lt"/>
              <a:cs typeface="Arial" panose="020B0604020202020204" pitchFamily="34" charset="0"/>
            </a:rPr>
            <a:t>Lifestyle &amp; Technology</a:t>
          </a:r>
          <a:endParaRPr lang="en-US" sz="2300" b="1" dirty="0">
            <a:latin typeface="+mj-lt"/>
            <a:cs typeface="Arial" panose="020B0604020202020204" pitchFamily="34" charset="0"/>
          </a:endParaRPr>
        </a:p>
      </dgm:t>
    </dgm:pt>
    <dgm:pt modelId="{599D0D07-530E-D741-B26F-BE59964A9D16}" type="parTrans" cxnId="{DA8180B5-3459-8D4C-A5A8-1BC0E14F6412}">
      <dgm:prSet/>
      <dgm:spPr/>
      <dgm:t>
        <a:bodyPr/>
        <a:lstStyle/>
        <a:p>
          <a:endParaRPr lang="en-US"/>
        </a:p>
      </dgm:t>
    </dgm:pt>
    <dgm:pt modelId="{DA5F5A42-FDFC-8A47-8ACC-576EF2DADD15}" type="sibTrans" cxnId="{DA8180B5-3459-8D4C-A5A8-1BC0E14F6412}">
      <dgm:prSet/>
      <dgm:spPr/>
      <dgm:t>
        <a:bodyPr/>
        <a:lstStyle/>
        <a:p>
          <a:endParaRPr lang="en-US"/>
        </a:p>
      </dgm:t>
    </dgm:pt>
    <dgm:pt modelId="{1D4BE2A9-09DE-A943-AB01-F0EC0A15ABE8}">
      <dgm:prSet phldrT="[Text]"/>
      <dgm:spPr/>
      <dgm:t>
        <a:bodyPr/>
        <a:lstStyle/>
        <a:p>
          <a:r>
            <a:rPr lang="en-US" sz="1600" dirty="0" smtClean="0">
              <a:latin typeface="+mj-lt"/>
              <a:cs typeface="Arial" panose="020B0604020202020204" pitchFamily="34" charset="0"/>
            </a:rPr>
            <a:t>With smart devices, gadgets become central to the millennial lifestyle</a:t>
          </a:r>
          <a:endParaRPr lang="en-US" sz="1600" dirty="0">
            <a:latin typeface="+mj-lt"/>
            <a:cs typeface="Arial" panose="020B0604020202020204" pitchFamily="34" charset="0"/>
          </a:endParaRPr>
        </a:p>
      </dgm:t>
    </dgm:pt>
    <dgm:pt modelId="{D8E50926-54EB-1447-ADD0-C141FFBAEA31}" type="parTrans" cxnId="{9E47B3D6-F13A-204C-91CE-DF0BAC63CCA2}">
      <dgm:prSet/>
      <dgm:spPr/>
      <dgm:t>
        <a:bodyPr/>
        <a:lstStyle/>
        <a:p>
          <a:endParaRPr lang="en-US"/>
        </a:p>
      </dgm:t>
    </dgm:pt>
    <dgm:pt modelId="{D4377F47-456C-4C4D-BCBD-078644581D6D}" type="sibTrans" cxnId="{9E47B3D6-F13A-204C-91CE-DF0BAC63CCA2}">
      <dgm:prSet/>
      <dgm:spPr/>
      <dgm:t>
        <a:bodyPr/>
        <a:lstStyle/>
        <a:p>
          <a:endParaRPr lang="en-US"/>
        </a:p>
      </dgm:t>
    </dgm:pt>
    <dgm:pt modelId="{60898F68-D4F5-48F3-B0ED-69ED28072BDA}">
      <dgm:prSet phldrT="[Text]"/>
      <dgm:spPr/>
      <dgm:t>
        <a:bodyPr/>
        <a:lstStyle/>
        <a:p>
          <a:r>
            <a:rPr lang="en-US" sz="1600" dirty="0" smtClean="0">
              <a:latin typeface="+mj-lt"/>
              <a:cs typeface="Arial" panose="020B0604020202020204" pitchFamily="34" charset="0"/>
            </a:rPr>
            <a:t>Food inspiration comes from food blogs, online recipe books, or YouTube</a:t>
          </a:r>
          <a:endParaRPr lang="en-US" sz="1600" dirty="0">
            <a:latin typeface="+mj-lt"/>
            <a:cs typeface="Arial" panose="020B0604020202020204" pitchFamily="34" charset="0"/>
          </a:endParaRPr>
        </a:p>
      </dgm:t>
    </dgm:pt>
    <dgm:pt modelId="{DC985CE5-E1B8-4D1F-A28C-5EA33762E8B9}" type="parTrans" cxnId="{E250C461-B65A-41D6-9EFE-19C8B8A6DA29}">
      <dgm:prSet/>
      <dgm:spPr/>
      <dgm:t>
        <a:bodyPr/>
        <a:lstStyle/>
        <a:p>
          <a:endParaRPr lang="en-US"/>
        </a:p>
      </dgm:t>
    </dgm:pt>
    <dgm:pt modelId="{04CB65E0-F51C-4B4E-B4E5-D382D4A3979D}" type="sibTrans" cxnId="{E250C461-B65A-41D6-9EFE-19C8B8A6DA29}">
      <dgm:prSet/>
      <dgm:spPr/>
      <dgm:t>
        <a:bodyPr/>
        <a:lstStyle/>
        <a:p>
          <a:endParaRPr lang="en-US"/>
        </a:p>
      </dgm:t>
    </dgm:pt>
    <dgm:pt modelId="{CB140A2A-F97A-8C44-B579-08975116431F}">
      <dgm:prSet phldrT="[Text]"/>
      <dgm:spPr/>
      <dgm:t>
        <a:bodyPr/>
        <a:lstStyle/>
        <a:p>
          <a:r>
            <a:rPr lang="en-US" sz="1600" dirty="0" smtClean="0">
              <a:latin typeface="+mj-lt"/>
              <a:cs typeface="Arial" panose="020B0604020202020204" pitchFamily="34" charset="0"/>
            </a:rPr>
            <a:t>Online sources expedite the process of finding a recipe and starting to cook</a:t>
          </a:r>
          <a:endParaRPr lang="en-US" sz="1600" dirty="0">
            <a:latin typeface="+mj-lt"/>
            <a:cs typeface="Arial" panose="020B0604020202020204" pitchFamily="34" charset="0"/>
          </a:endParaRPr>
        </a:p>
      </dgm:t>
    </dgm:pt>
    <dgm:pt modelId="{5000BA9D-5A89-FE40-B846-3C278B4DBC5A}" type="sibTrans" cxnId="{93A0E551-7948-5D4E-BC99-005ADDDC2B12}">
      <dgm:prSet/>
      <dgm:spPr/>
      <dgm:t>
        <a:bodyPr/>
        <a:lstStyle/>
        <a:p>
          <a:endParaRPr lang="en-US"/>
        </a:p>
      </dgm:t>
    </dgm:pt>
    <dgm:pt modelId="{B3FA053D-E845-6543-853A-4AA70A8A2C09}" type="parTrans" cxnId="{93A0E551-7948-5D4E-BC99-005ADDDC2B12}">
      <dgm:prSet/>
      <dgm:spPr/>
      <dgm:t>
        <a:bodyPr/>
        <a:lstStyle/>
        <a:p>
          <a:endParaRPr lang="en-US"/>
        </a:p>
      </dgm:t>
    </dgm:pt>
    <dgm:pt modelId="{6BE3C9D4-AA23-8340-B54A-6D93413A6589}" type="pres">
      <dgm:prSet presAssocID="{6056ED2B-D32D-B24F-82D4-82F1A6D4567B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CA057E8-EAB3-A549-91C7-919D200BED4F}" type="pres">
      <dgm:prSet presAssocID="{A0B8E40A-5ECA-C243-8FFA-78A07FCE57F3}" presName="comp" presStyleCnt="0"/>
      <dgm:spPr/>
      <dgm:t>
        <a:bodyPr/>
        <a:lstStyle/>
        <a:p>
          <a:endParaRPr lang="en-US"/>
        </a:p>
      </dgm:t>
    </dgm:pt>
    <dgm:pt modelId="{6E5A9696-C7B6-B044-98B5-CD578E48FE22}" type="pres">
      <dgm:prSet presAssocID="{A0B8E40A-5ECA-C243-8FFA-78A07FCE57F3}" presName="box" presStyleLbl="node1" presStyleIdx="0" presStyleCnt="3" custScaleY="59138"/>
      <dgm:spPr/>
      <dgm:t>
        <a:bodyPr/>
        <a:lstStyle/>
        <a:p>
          <a:endParaRPr lang="en-US"/>
        </a:p>
      </dgm:t>
    </dgm:pt>
    <dgm:pt modelId="{85F96C7A-D247-A24A-83DE-A0E7B2AEA9D2}" type="pres">
      <dgm:prSet presAssocID="{A0B8E40A-5ECA-C243-8FFA-78A07FCE57F3}" presName="img" presStyleLbl="fgImgPlace1" presStyleIdx="0" presStyleCnt="3" custScaleX="75374" custScaleY="59928"/>
      <dgm:spPr>
        <a:blipFill rotWithShape="1">
          <a:blip xmlns:r="http://schemas.openxmlformats.org/officeDocument/2006/relationships" r:embed="rId1"/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</dgm:pt>
    <dgm:pt modelId="{1197139D-5F35-C046-8AF1-A2A5D64BE59B}" type="pres">
      <dgm:prSet presAssocID="{A0B8E40A-5ECA-C243-8FFA-78A07FCE57F3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B89D25E-2126-4D45-8100-D666909D0CBD}" type="pres">
      <dgm:prSet presAssocID="{13B3730C-349C-7342-A5D5-CD1115AD5875}" presName="spacer" presStyleCnt="0"/>
      <dgm:spPr/>
      <dgm:t>
        <a:bodyPr/>
        <a:lstStyle/>
        <a:p>
          <a:endParaRPr lang="en-US"/>
        </a:p>
      </dgm:t>
    </dgm:pt>
    <dgm:pt modelId="{264C6561-64AE-4D41-9340-AB693163CD65}" type="pres">
      <dgm:prSet presAssocID="{000DB457-D67F-754C-931D-C1F95339A16B}" presName="comp" presStyleCnt="0"/>
      <dgm:spPr/>
      <dgm:t>
        <a:bodyPr/>
        <a:lstStyle/>
        <a:p>
          <a:endParaRPr lang="en-US"/>
        </a:p>
      </dgm:t>
    </dgm:pt>
    <dgm:pt modelId="{A06C09CF-DAD1-1646-A6A0-DD6AF37901E4}" type="pres">
      <dgm:prSet presAssocID="{000DB457-D67F-754C-931D-C1F95339A16B}" presName="box" presStyleLbl="node1" presStyleIdx="1" presStyleCnt="3" custScaleY="59138"/>
      <dgm:spPr/>
      <dgm:t>
        <a:bodyPr/>
        <a:lstStyle/>
        <a:p>
          <a:endParaRPr lang="en-US"/>
        </a:p>
      </dgm:t>
    </dgm:pt>
    <dgm:pt modelId="{777648AA-3098-5E45-90AD-06C8229E85AD}" type="pres">
      <dgm:prSet presAssocID="{000DB457-D67F-754C-931D-C1F95339A16B}" presName="img" presStyleLbl="fgImgPlace1" presStyleIdx="1" presStyleCnt="3" custScaleX="86032" custScaleY="64406" custLinFactNeighborY="-1438"/>
      <dgm:spPr>
        <a:blipFill rotWithShape="1">
          <a:blip xmlns:r="http://schemas.openxmlformats.org/officeDocument/2006/relationships" r:embed="rId2"/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</dgm:pt>
    <dgm:pt modelId="{9BFD68E7-3C7A-5542-82B9-255D622460D8}" type="pres">
      <dgm:prSet presAssocID="{000DB457-D67F-754C-931D-C1F95339A16B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BCF9FD0-9B0F-2840-B3DE-5803637BBE9C}" type="pres">
      <dgm:prSet presAssocID="{70F13A66-F82F-FF43-85E0-4DD02131CCB6}" presName="spacer" presStyleCnt="0"/>
      <dgm:spPr/>
      <dgm:t>
        <a:bodyPr/>
        <a:lstStyle/>
        <a:p>
          <a:endParaRPr lang="en-US"/>
        </a:p>
      </dgm:t>
    </dgm:pt>
    <dgm:pt modelId="{DDFB1A3F-8498-7D46-80D0-7D186087A9EE}" type="pres">
      <dgm:prSet presAssocID="{DB1A33F9-99C0-BE49-B741-50439D012BC9}" presName="comp" presStyleCnt="0"/>
      <dgm:spPr/>
      <dgm:t>
        <a:bodyPr/>
        <a:lstStyle/>
        <a:p>
          <a:endParaRPr lang="en-US"/>
        </a:p>
      </dgm:t>
    </dgm:pt>
    <dgm:pt modelId="{50C45F4C-7D6F-674B-A739-5D0C216D4C0D}" type="pres">
      <dgm:prSet presAssocID="{DB1A33F9-99C0-BE49-B741-50439D012BC9}" presName="box" presStyleLbl="node1" presStyleIdx="2" presStyleCnt="3" custScaleY="59138"/>
      <dgm:spPr/>
      <dgm:t>
        <a:bodyPr/>
        <a:lstStyle/>
        <a:p>
          <a:endParaRPr lang="en-US"/>
        </a:p>
      </dgm:t>
    </dgm:pt>
    <dgm:pt modelId="{7B5494D8-EA72-014E-9894-AF07FAAAEA32}" type="pres">
      <dgm:prSet presAssocID="{DB1A33F9-99C0-BE49-B741-50439D012BC9}" presName="img" presStyleLbl="fgImgPlace1" presStyleIdx="2" presStyleCnt="3" custScaleX="79558" custScaleY="66880"/>
      <dgm:spPr>
        <a:blipFill rotWithShape="1">
          <a:blip xmlns:r="http://schemas.openxmlformats.org/officeDocument/2006/relationships" r:embed="rId3"/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</dgm:pt>
    <dgm:pt modelId="{F5A36E14-61E7-C447-AA4E-7A9793EB0131}" type="pres">
      <dgm:prSet presAssocID="{DB1A33F9-99C0-BE49-B741-50439D012BC9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74C07EC-A639-564F-BEEA-38ECED504616}" type="presOf" srcId="{A0B8E40A-5ECA-C243-8FFA-78A07FCE57F3}" destId="{1197139D-5F35-C046-8AF1-A2A5D64BE59B}" srcOrd="1" destOrd="0" presId="urn:microsoft.com/office/officeart/2005/8/layout/vList4"/>
    <dgm:cxn modelId="{589F11EB-80E2-CC40-B405-EA1273DBCBC2}" type="presOf" srcId="{DB1A33F9-99C0-BE49-B741-50439D012BC9}" destId="{F5A36E14-61E7-C447-AA4E-7A9793EB0131}" srcOrd="1" destOrd="0" presId="urn:microsoft.com/office/officeart/2005/8/layout/vList4"/>
    <dgm:cxn modelId="{21E0BA5A-98A5-C74F-B56A-7EB63CAAA942}" type="presOf" srcId="{9A4CBF3F-485F-2A47-8238-9E88E680D4A1}" destId="{9BFD68E7-3C7A-5542-82B9-255D622460D8}" srcOrd="1" destOrd="1" presId="urn:microsoft.com/office/officeart/2005/8/layout/vList4"/>
    <dgm:cxn modelId="{4014B03E-E7C5-EA40-9FCF-55221696AB61}" type="presOf" srcId="{1D4BE2A9-09DE-A943-AB01-F0EC0A15ABE8}" destId="{F5A36E14-61E7-C447-AA4E-7A9793EB0131}" srcOrd="1" destOrd="1" presId="urn:microsoft.com/office/officeart/2005/8/layout/vList4"/>
    <dgm:cxn modelId="{36A4C0D5-A4B2-6140-8E7C-8C90FB27BA2C}" srcId="{A0B8E40A-5ECA-C243-8FFA-78A07FCE57F3}" destId="{FC8D5C18-07DB-934B-9C53-9F11AA412AA0}" srcOrd="0" destOrd="0" parTransId="{66E55CD5-C800-A649-A54D-E406371D09D8}" sibTransId="{E89391E0-BFAA-694D-AAF7-7E06634D213A}"/>
    <dgm:cxn modelId="{94E738FE-C9F2-F547-BD11-696C105FBDA4}" type="presOf" srcId="{60898F68-D4F5-48F3-B0ED-69ED28072BDA}" destId="{50C45F4C-7D6F-674B-A739-5D0C216D4C0D}" srcOrd="0" destOrd="2" presId="urn:microsoft.com/office/officeart/2005/8/layout/vList4"/>
    <dgm:cxn modelId="{329E7FD1-1F3C-E645-9B56-7FBFE8A0D41E}" srcId="{6056ED2B-D32D-B24F-82D4-82F1A6D4567B}" destId="{A0B8E40A-5ECA-C243-8FFA-78A07FCE57F3}" srcOrd="0" destOrd="0" parTransId="{323C404E-660C-9544-AE0D-657BF2A52835}" sibTransId="{13B3730C-349C-7342-A5D5-CD1115AD5875}"/>
    <dgm:cxn modelId="{443E73C9-E6DC-1B42-88E3-54421D24A4FB}" type="presOf" srcId="{FC8D5C18-07DB-934B-9C53-9F11AA412AA0}" destId="{1197139D-5F35-C046-8AF1-A2A5D64BE59B}" srcOrd="1" destOrd="1" presId="urn:microsoft.com/office/officeart/2005/8/layout/vList4"/>
    <dgm:cxn modelId="{29D397EC-C4C2-2F4D-AA73-F9136367270E}" type="presOf" srcId="{60898F68-D4F5-48F3-B0ED-69ED28072BDA}" destId="{F5A36E14-61E7-C447-AA4E-7A9793EB0131}" srcOrd="1" destOrd="2" presId="urn:microsoft.com/office/officeart/2005/8/layout/vList4"/>
    <dgm:cxn modelId="{A870D35C-07F2-084C-B42A-7F561FE7E8BB}" type="presOf" srcId="{CB140A2A-F97A-8C44-B579-08975116431F}" destId="{9BFD68E7-3C7A-5542-82B9-255D622460D8}" srcOrd="1" destOrd="2" presId="urn:microsoft.com/office/officeart/2005/8/layout/vList4"/>
    <dgm:cxn modelId="{3D4F3702-C993-2A44-9CEB-1A23B7E5F972}" type="presOf" srcId="{000DB457-D67F-754C-931D-C1F95339A16B}" destId="{A06C09CF-DAD1-1646-A6A0-DD6AF37901E4}" srcOrd="0" destOrd="0" presId="urn:microsoft.com/office/officeart/2005/8/layout/vList4"/>
    <dgm:cxn modelId="{68E0B30F-F88F-1144-A9CA-6FA274B1DE10}" srcId="{000DB457-D67F-754C-931D-C1F95339A16B}" destId="{9A4CBF3F-485F-2A47-8238-9E88E680D4A1}" srcOrd="0" destOrd="0" parTransId="{3F742351-E883-2F45-81A7-F6265DF87039}" sibTransId="{F9AD425A-062D-DC4B-9A0F-15B6E8B7A11D}"/>
    <dgm:cxn modelId="{E250C461-B65A-41D6-9EFE-19C8B8A6DA29}" srcId="{DB1A33F9-99C0-BE49-B741-50439D012BC9}" destId="{60898F68-D4F5-48F3-B0ED-69ED28072BDA}" srcOrd="1" destOrd="0" parTransId="{DC985CE5-E1B8-4D1F-A28C-5EA33762E8B9}" sibTransId="{04CB65E0-F51C-4B4E-B4E5-D382D4A3979D}"/>
    <dgm:cxn modelId="{27B9DF2E-06EF-0E4F-B3EC-2A8B51E6EB70}" type="presOf" srcId="{000DB457-D67F-754C-931D-C1F95339A16B}" destId="{9BFD68E7-3C7A-5542-82B9-255D622460D8}" srcOrd="1" destOrd="0" presId="urn:microsoft.com/office/officeart/2005/8/layout/vList4"/>
    <dgm:cxn modelId="{985640FE-4474-D349-983D-DCDFA56E8E3B}" type="presOf" srcId="{9A4CBF3F-485F-2A47-8238-9E88E680D4A1}" destId="{A06C09CF-DAD1-1646-A6A0-DD6AF37901E4}" srcOrd="0" destOrd="1" presId="urn:microsoft.com/office/officeart/2005/8/layout/vList4"/>
    <dgm:cxn modelId="{DA8180B5-3459-8D4C-A5A8-1BC0E14F6412}" srcId="{6056ED2B-D32D-B24F-82D4-82F1A6D4567B}" destId="{DB1A33F9-99C0-BE49-B741-50439D012BC9}" srcOrd="2" destOrd="0" parTransId="{599D0D07-530E-D741-B26F-BE59964A9D16}" sibTransId="{DA5F5A42-FDFC-8A47-8ACC-576EF2DADD15}"/>
    <dgm:cxn modelId="{4C364833-1C24-6742-A17D-81495911CE23}" type="presOf" srcId="{DB1A33F9-99C0-BE49-B741-50439D012BC9}" destId="{50C45F4C-7D6F-674B-A739-5D0C216D4C0D}" srcOrd="0" destOrd="0" presId="urn:microsoft.com/office/officeart/2005/8/layout/vList4"/>
    <dgm:cxn modelId="{93A0E551-7948-5D4E-BC99-005ADDDC2B12}" srcId="{000DB457-D67F-754C-931D-C1F95339A16B}" destId="{CB140A2A-F97A-8C44-B579-08975116431F}" srcOrd="1" destOrd="0" parTransId="{B3FA053D-E845-6543-853A-4AA70A8A2C09}" sibTransId="{5000BA9D-5A89-FE40-B846-3C278B4DBC5A}"/>
    <dgm:cxn modelId="{D15D28FF-264B-954D-B69A-998FED3AC38F}" type="presOf" srcId="{A0B8E40A-5ECA-C243-8FFA-78A07FCE57F3}" destId="{6E5A9696-C7B6-B044-98B5-CD578E48FE22}" srcOrd="0" destOrd="0" presId="urn:microsoft.com/office/officeart/2005/8/layout/vList4"/>
    <dgm:cxn modelId="{9E47B3D6-F13A-204C-91CE-DF0BAC63CCA2}" srcId="{DB1A33F9-99C0-BE49-B741-50439D012BC9}" destId="{1D4BE2A9-09DE-A943-AB01-F0EC0A15ABE8}" srcOrd="0" destOrd="0" parTransId="{D8E50926-54EB-1447-ADD0-C141FFBAEA31}" sibTransId="{D4377F47-456C-4C4D-BCBD-078644581D6D}"/>
    <dgm:cxn modelId="{B6C7AE0E-EADD-5A4B-8976-3E7BB3FFDB08}" type="presOf" srcId="{6056ED2B-D32D-B24F-82D4-82F1A6D4567B}" destId="{6BE3C9D4-AA23-8340-B54A-6D93413A6589}" srcOrd="0" destOrd="0" presId="urn:microsoft.com/office/officeart/2005/8/layout/vList4"/>
    <dgm:cxn modelId="{41471BF4-FEFB-7047-93D2-3A325A6A9C3A}" srcId="{6056ED2B-D32D-B24F-82D4-82F1A6D4567B}" destId="{000DB457-D67F-754C-931D-C1F95339A16B}" srcOrd="1" destOrd="0" parTransId="{8D3F1E4E-8E74-374B-96FA-E6164A6B5FDF}" sibTransId="{70F13A66-F82F-FF43-85E0-4DD02131CCB6}"/>
    <dgm:cxn modelId="{3AA76323-B67F-E049-B4D3-65CD017296FE}" type="presOf" srcId="{1D4BE2A9-09DE-A943-AB01-F0EC0A15ABE8}" destId="{50C45F4C-7D6F-674B-A739-5D0C216D4C0D}" srcOrd="0" destOrd="1" presId="urn:microsoft.com/office/officeart/2005/8/layout/vList4"/>
    <dgm:cxn modelId="{99200676-3C68-6346-9DC5-7940EF146F4E}" type="presOf" srcId="{FC8D5C18-07DB-934B-9C53-9F11AA412AA0}" destId="{6E5A9696-C7B6-B044-98B5-CD578E48FE22}" srcOrd="0" destOrd="1" presId="urn:microsoft.com/office/officeart/2005/8/layout/vList4"/>
    <dgm:cxn modelId="{E0F98C2B-AABE-0C4D-BF05-A3A191B1CAF2}" type="presOf" srcId="{CB140A2A-F97A-8C44-B579-08975116431F}" destId="{A06C09CF-DAD1-1646-A6A0-DD6AF37901E4}" srcOrd="0" destOrd="2" presId="urn:microsoft.com/office/officeart/2005/8/layout/vList4"/>
    <dgm:cxn modelId="{6D6C0D85-FEB8-4F41-8B2E-5B3355F91C08}" type="presParOf" srcId="{6BE3C9D4-AA23-8340-B54A-6D93413A6589}" destId="{CCA057E8-EAB3-A549-91C7-919D200BED4F}" srcOrd="0" destOrd="0" presId="urn:microsoft.com/office/officeart/2005/8/layout/vList4"/>
    <dgm:cxn modelId="{3022D88F-A50F-DE4E-9509-4D2DBC445824}" type="presParOf" srcId="{CCA057E8-EAB3-A549-91C7-919D200BED4F}" destId="{6E5A9696-C7B6-B044-98B5-CD578E48FE22}" srcOrd="0" destOrd="0" presId="urn:microsoft.com/office/officeart/2005/8/layout/vList4"/>
    <dgm:cxn modelId="{6E2200D1-F636-004A-BABB-59DB9BC97F15}" type="presParOf" srcId="{CCA057E8-EAB3-A549-91C7-919D200BED4F}" destId="{85F96C7A-D247-A24A-83DE-A0E7B2AEA9D2}" srcOrd="1" destOrd="0" presId="urn:microsoft.com/office/officeart/2005/8/layout/vList4"/>
    <dgm:cxn modelId="{045F7586-2830-1E45-B9E5-623AF54D7A2A}" type="presParOf" srcId="{CCA057E8-EAB3-A549-91C7-919D200BED4F}" destId="{1197139D-5F35-C046-8AF1-A2A5D64BE59B}" srcOrd="2" destOrd="0" presId="urn:microsoft.com/office/officeart/2005/8/layout/vList4"/>
    <dgm:cxn modelId="{94897CB6-BF65-F141-92EC-0D68DA53DA85}" type="presParOf" srcId="{6BE3C9D4-AA23-8340-B54A-6D93413A6589}" destId="{EB89D25E-2126-4D45-8100-D666909D0CBD}" srcOrd="1" destOrd="0" presId="urn:microsoft.com/office/officeart/2005/8/layout/vList4"/>
    <dgm:cxn modelId="{45046BA1-A8BC-EB4A-A751-6D6CC9C4BCFF}" type="presParOf" srcId="{6BE3C9D4-AA23-8340-B54A-6D93413A6589}" destId="{264C6561-64AE-4D41-9340-AB693163CD65}" srcOrd="2" destOrd="0" presId="urn:microsoft.com/office/officeart/2005/8/layout/vList4"/>
    <dgm:cxn modelId="{E5D20D16-5D4B-E442-8001-2C90C7DB21C4}" type="presParOf" srcId="{264C6561-64AE-4D41-9340-AB693163CD65}" destId="{A06C09CF-DAD1-1646-A6A0-DD6AF37901E4}" srcOrd="0" destOrd="0" presId="urn:microsoft.com/office/officeart/2005/8/layout/vList4"/>
    <dgm:cxn modelId="{6BA594AA-ED54-0341-A204-278A0C3759B6}" type="presParOf" srcId="{264C6561-64AE-4D41-9340-AB693163CD65}" destId="{777648AA-3098-5E45-90AD-06C8229E85AD}" srcOrd="1" destOrd="0" presId="urn:microsoft.com/office/officeart/2005/8/layout/vList4"/>
    <dgm:cxn modelId="{B7ADD3E5-716B-D244-A17D-FFD25D6B048F}" type="presParOf" srcId="{264C6561-64AE-4D41-9340-AB693163CD65}" destId="{9BFD68E7-3C7A-5542-82B9-255D622460D8}" srcOrd="2" destOrd="0" presId="urn:microsoft.com/office/officeart/2005/8/layout/vList4"/>
    <dgm:cxn modelId="{60BC98D2-D0B6-AC46-9D1A-444F06BBC4B8}" type="presParOf" srcId="{6BE3C9D4-AA23-8340-B54A-6D93413A6589}" destId="{1BCF9FD0-9B0F-2840-B3DE-5803637BBE9C}" srcOrd="3" destOrd="0" presId="urn:microsoft.com/office/officeart/2005/8/layout/vList4"/>
    <dgm:cxn modelId="{36A938A6-5E50-E446-9142-10C5643C7EA9}" type="presParOf" srcId="{6BE3C9D4-AA23-8340-B54A-6D93413A6589}" destId="{DDFB1A3F-8498-7D46-80D0-7D186087A9EE}" srcOrd="4" destOrd="0" presId="urn:microsoft.com/office/officeart/2005/8/layout/vList4"/>
    <dgm:cxn modelId="{4FA97C12-D62F-7D40-955F-0C6A2AB826E7}" type="presParOf" srcId="{DDFB1A3F-8498-7D46-80D0-7D186087A9EE}" destId="{50C45F4C-7D6F-674B-A739-5D0C216D4C0D}" srcOrd="0" destOrd="0" presId="urn:microsoft.com/office/officeart/2005/8/layout/vList4"/>
    <dgm:cxn modelId="{7EB045C0-5BF6-0348-A455-C87691B3A129}" type="presParOf" srcId="{DDFB1A3F-8498-7D46-80D0-7D186087A9EE}" destId="{7B5494D8-EA72-014E-9894-AF07FAAAEA32}" srcOrd="1" destOrd="0" presId="urn:microsoft.com/office/officeart/2005/8/layout/vList4"/>
    <dgm:cxn modelId="{522A6126-E7AB-5949-B942-8DA21103B55C}" type="presParOf" srcId="{DDFB1A3F-8498-7D46-80D0-7D186087A9EE}" destId="{F5A36E14-61E7-C447-AA4E-7A9793EB0131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056ED2B-D32D-B24F-82D4-82F1A6D4567B}" type="doc">
      <dgm:prSet loTypeId="urn:microsoft.com/office/officeart/2005/8/layout/vList4" loCatId="" qsTypeId="urn:microsoft.com/office/officeart/2005/8/quickstyle/simple4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A0B8E40A-5ECA-C243-8FFA-78A07FCE57F3}">
      <dgm:prSet phldrT="[Text]"/>
      <dgm:spPr/>
      <dgm:t>
        <a:bodyPr/>
        <a:lstStyle/>
        <a:p>
          <a:r>
            <a:rPr lang="en-US" b="1" dirty="0" smtClean="0">
              <a:latin typeface="+mj-lt"/>
              <a:cs typeface="Arial" panose="020B0604020202020204" pitchFamily="34" charset="0"/>
            </a:rPr>
            <a:t>Spill-Safe</a:t>
          </a:r>
          <a:endParaRPr lang="en-US" b="1" dirty="0">
            <a:latin typeface="+mj-lt"/>
            <a:cs typeface="Arial" panose="020B0604020202020204" pitchFamily="34" charset="0"/>
          </a:endParaRPr>
        </a:p>
      </dgm:t>
    </dgm:pt>
    <dgm:pt modelId="{323C404E-660C-9544-AE0D-657BF2A52835}" type="parTrans" cxnId="{329E7FD1-1F3C-E645-9B56-7FBFE8A0D41E}">
      <dgm:prSet/>
      <dgm:spPr/>
      <dgm:t>
        <a:bodyPr/>
        <a:lstStyle/>
        <a:p>
          <a:endParaRPr lang="en-US"/>
        </a:p>
      </dgm:t>
    </dgm:pt>
    <dgm:pt modelId="{13B3730C-349C-7342-A5D5-CD1115AD5875}" type="sibTrans" cxnId="{329E7FD1-1F3C-E645-9B56-7FBFE8A0D41E}">
      <dgm:prSet/>
      <dgm:spPr/>
      <dgm:t>
        <a:bodyPr/>
        <a:lstStyle/>
        <a:p>
          <a:endParaRPr lang="en-US"/>
        </a:p>
      </dgm:t>
    </dgm:pt>
    <dgm:pt modelId="{000DB457-D67F-754C-931D-C1F95339A16B}">
      <dgm:prSet phldrT="[Text]"/>
      <dgm:spPr/>
      <dgm:t>
        <a:bodyPr/>
        <a:lstStyle/>
        <a:p>
          <a:r>
            <a:rPr lang="en-US" b="1" dirty="0" smtClean="0">
              <a:latin typeface="+mj-lt"/>
              <a:cs typeface="Arial" panose="020B0604020202020204" pitchFamily="34" charset="0"/>
            </a:rPr>
            <a:t>Multi-Purpose Design </a:t>
          </a:r>
          <a:endParaRPr lang="en-US" b="1" dirty="0">
            <a:latin typeface="+mj-lt"/>
            <a:cs typeface="Arial" panose="020B0604020202020204" pitchFamily="34" charset="0"/>
          </a:endParaRPr>
        </a:p>
      </dgm:t>
    </dgm:pt>
    <dgm:pt modelId="{8D3F1E4E-8E74-374B-96FA-E6164A6B5FDF}" type="parTrans" cxnId="{41471BF4-FEFB-7047-93D2-3A325A6A9C3A}">
      <dgm:prSet/>
      <dgm:spPr/>
      <dgm:t>
        <a:bodyPr/>
        <a:lstStyle/>
        <a:p>
          <a:endParaRPr lang="en-US"/>
        </a:p>
      </dgm:t>
    </dgm:pt>
    <dgm:pt modelId="{70F13A66-F82F-FF43-85E0-4DD02131CCB6}" type="sibTrans" cxnId="{41471BF4-FEFB-7047-93D2-3A325A6A9C3A}">
      <dgm:prSet/>
      <dgm:spPr/>
      <dgm:t>
        <a:bodyPr/>
        <a:lstStyle/>
        <a:p>
          <a:endParaRPr lang="en-US"/>
        </a:p>
      </dgm:t>
    </dgm:pt>
    <dgm:pt modelId="{DB1A33F9-99C0-BE49-B741-50439D012BC9}">
      <dgm:prSet phldrT="[Text]"/>
      <dgm:spPr/>
      <dgm:t>
        <a:bodyPr/>
        <a:lstStyle/>
        <a:p>
          <a:r>
            <a:rPr lang="en-US" b="1" dirty="0" smtClean="0">
              <a:latin typeface="+mj-lt"/>
              <a:cs typeface="Arial" panose="020B0604020202020204" pitchFamily="34" charset="0"/>
            </a:rPr>
            <a:t>Dishwasher-Safe </a:t>
          </a:r>
          <a:endParaRPr lang="en-US" b="1" dirty="0">
            <a:latin typeface="+mj-lt"/>
            <a:cs typeface="Arial" panose="020B0604020202020204" pitchFamily="34" charset="0"/>
          </a:endParaRPr>
        </a:p>
      </dgm:t>
    </dgm:pt>
    <dgm:pt modelId="{599D0D07-530E-D741-B26F-BE59964A9D16}" type="parTrans" cxnId="{DA8180B5-3459-8D4C-A5A8-1BC0E14F6412}">
      <dgm:prSet/>
      <dgm:spPr/>
      <dgm:t>
        <a:bodyPr/>
        <a:lstStyle/>
        <a:p>
          <a:endParaRPr lang="en-US"/>
        </a:p>
      </dgm:t>
    </dgm:pt>
    <dgm:pt modelId="{DA5F5A42-FDFC-8A47-8ACC-576EF2DADD15}" type="sibTrans" cxnId="{DA8180B5-3459-8D4C-A5A8-1BC0E14F6412}">
      <dgm:prSet/>
      <dgm:spPr/>
      <dgm:t>
        <a:bodyPr/>
        <a:lstStyle/>
        <a:p>
          <a:endParaRPr lang="en-US"/>
        </a:p>
      </dgm:t>
    </dgm:pt>
    <dgm:pt modelId="{1D4BE2A9-09DE-A943-AB01-F0EC0A15ABE8}">
      <dgm:prSet phldrT="[Text]"/>
      <dgm:spPr/>
      <dgm:t>
        <a:bodyPr/>
        <a:lstStyle/>
        <a:p>
          <a:r>
            <a:rPr lang="en-US" dirty="0" smtClean="0">
              <a:latin typeface="+mj-lt"/>
              <a:cs typeface="Arial" panose="020B0604020202020204" pitchFamily="34" charset="0"/>
            </a:rPr>
            <a:t>Remove tablet and throw in the dishwasher for a quick and easy clean up</a:t>
          </a:r>
          <a:endParaRPr lang="en-US" dirty="0">
            <a:latin typeface="+mj-lt"/>
            <a:cs typeface="Arial" panose="020B0604020202020204" pitchFamily="34" charset="0"/>
          </a:endParaRPr>
        </a:p>
      </dgm:t>
    </dgm:pt>
    <dgm:pt modelId="{D8E50926-54EB-1447-ADD0-C141FFBAEA31}" type="parTrans" cxnId="{9E47B3D6-F13A-204C-91CE-DF0BAC63CCA2}">
      <dgm:prSet/>
      <dgm:spPr/>
      <dgm:t>
        <a:bodyPr/>
        <a:lstStyle/>
        <a:p>
          <a:endParaRPr lang="en-US"/>
        </a:p>
      </dgm:t>
    </dgm:pt>
    <dgm:pt modelId="{D4377F47-456C-4C4D-BCBD-078644581D6D}" type="sibTrans" cxnId="{9E47B3D6-F13A-204C-91CE-DF0BAC63CCA2}">
      <dgm:prSet/>
      <dgm:spPr/>
      <dgm:t>
        <a:bodyPr/>
        <a:lstStyle/>
        <a:p>
          <a:endParaRPr lang="en-US"/>
        </a:p>
      </dgm:t>
    </dgm:pt>
    <dgm:pt modelId="{FC8D5C18-07DB-934B-9C53-9F11AA412AA0}">
      <dgm:prSet phldrT="[Text]"/>
      <dgm:spPr/>
      <dgm:t>
        <a:bodyPr/>
        <a:lstStyle/>
        <a:p>
          <a:r>
            <a:rPr lang="en-US" dirty="0" smtClean="0">
              <a:latin typeface="+mj-lt"/>
              <a:cs typeface="Arial" panose="020B0604020202020204" pitchFamily="34" charset="0"/>
            </a:rPr>
            <a:t>Air tight design guards tablet/smartphone from damage</a:t>
          </a:r>
          <a:endParaRPr lang="en-US" dirty="0">
            <a:latin typeface="+mj-lt"/>
            <a:cs typeface="Arial" panose="020B0604020202020204" pitchFamily="34" charset="0"/>
          </a:endParaRPr>
        </a:p>
      </dgm:t>
    </dgm:pt>
    <dgm:pt modelId="{E89391E0-BFAA-694D-AAF7-7E06634D213A}" type="sibTrans" cxnId="{36A4C0D5-A4B2-6140-8E7C-8C90FB27BA2C}">
      <dgm:prSet/>
      <dgm:spPr/>
      <dgm:t>
        <a:bodyPr/>
        <a:lstStyle/>
        <a:p>
          <a:endParaRPr lang="en-US"/>
        </a:p>
      </dgm:t>
    </dgm:pt>
    <dgm:pt modelId="{66E55CD5-C800-A649-A54D-E406371D09D8}" type="parTrans" cxnId="{36A4C0D5-A4B2-6140-8E7C-8C90FB27BA2C}">
      <dgm:prSet/>
      <dgm:spPr/>
      <dgm:t>
        <a:bodyPr/>
        <a:lstStyle/>
        <a:p>
          <a:endParaRPr lang="en-US"/>
        </a:p>
      </dgm:t>
    </dgm:pt>
    <dgm:pt modelId="{9A4CBF3F-485F-2A47-8238-9E88E680D4A1}">
      <dgm:prSet phldrT="[Text]"/>
      <dgm:spPr/>
      <dgm:t>
        <a:bodyPr/>
        <a:lstStyle/>
        <a:p>
          <a:r>
            <a:rPr lang="en-US" dirty="0" smtClean="0">
              <a:latin typeface="+mj-lt"/>
              <a:cs typeface="Arial" panose="020B0604020202020204" pitchFamily="34" charset="0"/>
            </a:rPr>
            <a:t>Use the cutting board to prepare food </a:t>
          </a:r>
          <a:endParaRPr lang="en-US" dirty="0">
            <a:latin typeface="+mj-lt"/>
            <a:cs typeface="Arial" panose="020B0604020202020204" pitchFamily="34" charset="0"/>
          </a:endParaRPr>
        </a:p>
      </dgm:t>
    </dgm:pt>
    <dgm:pt modelId="{F9AD425A-062D-DC4B-9A0F-15B6E8B7A11D}" type="sibTrans" cxnId="{68E0B30F-F88F-1144-A9CA-6FA274B1DE10}">
      <dgm:prSet/>
      <dgm:spPr/>
      <dgm:t>
        <a:bodyPr/>
        <a:lstStyle/>
        <a:p>
          <a:endParaRPr lang="en-US"/>
        </a:p>
      </dgm:t>
    </dgm:pt>
    <dgm:pt modelId="{3F742351-E883-2F45-81A7-F6265DF87039}" type="parTrans" cxnId="{68E0B30F-F88F-1144-A9CA-6FA274B1DE10}">
      <dgm:prSet/>
      <dgm:spPr/>
      <dgm:t>
        <a:bodyPr/>
        <a:lstStyle/>
        <a:p>
          <a:endParaRPr lang="en-US"/>
        </a:p>
      </dgm:t>
    </dgm:pt>
    <dgm:pt modelId="{B7A56F1A-9E44-3C43-B92A-7431C05F21E9}">
      <dgm:prSet phldrT="[Text]"/>
      <dgm:spPr/>
      <dgm:t>
        <a:bodyPr/>
        <a:lstStyle/>
        <a:p>
          <a:r>
            <a:rPr lang="en-US" dirty="0" smtClean="0">
              <a:latin typeface="+mj-lt"/>
              <a:cs typeface="Arial" panose="020B0604020202020204" pitchFamily="34" charset="0"/>
            </a:rPr>
            <a:t>Once food is prepared, case can be used as a plate to hold food</a:t>
          </a:r>
          <a:endParaRPr lang="en-US" dirty="0">
            <a:latin typeface="+mj-lt"/>
            <a:cs typeface="Arial" panose="020B0604020202020204" pitchFamily="34" charset="0"/>
          </a:endParaRPr>
        </a:p>
      </dgm:t>
    </dgm:pt>
    <dgm:pt modelId="{F15C9851-8BB9-7645-BB67-312993D6B21B}" type="parTrans" cxnId="{19026DA6-5BBE-194D-9276-212BEC776C0E}">
      <dgm:prSet/>
      <dgm:spPr/>
      <dgm:t>
        <a:bodyPr/>
        <a:lstStyle/>
        <a:p>
          <a:endParaRPr lang="en-US"/>
        </a:p>
      </dgm:t>
    </dgm:pt>
    <dgm:pt modelId="{AC7D19A2-5455-3A48-B9FE-37D317A7C955}" type="sibTrans" cxnId="{19026DA6-5BBE-194D-9276-212BEC776C0E}">
      <dgm:prSet/>
      <dgm:spPr/>
      <dgm:t>
        <a:bodyPr/>
        <a:lstStyle/>
        <a:p>
          <a:endParaRPr lang="en-US"/>
        </a:p>
      </dgm:t>
    </dgm:pt>
    <dgm:pt modelId="{6BE3C9D4-AA23-8340-B54A-6D93413A6589}" type="pres">
      <dgm:prSet presAssocID="{6056ED2B-D32D-B24F-82D4-82F1A6D4567B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CA057E8-EAB3-A549-91C7-919D200BED4F}" type="pres">
      <dgm:prSet presAssocID="{A0B8E40A-5ECA-C243-8FFA-78A07FCE57F3}" presName="comp" presStyleCnt="0"/>
      <dgm:spPr/>
      <dgm:t>
        <a:bodyPr/>
        <a:lstStyle/>
        <a:p>
          <a:endParaRPr lang="en-US"/>
        </a:p>
      </dgm:t>
    </dgm:pt>
    <dgm:pt modelId="{6E5A9696-C7B6-B044-98B5-CD578E48FE22}" type="pres">
      <dgm:prSet presAssocID="{A0B8E40A-5ECA-C243-8FFA-78A07FCE57F3}" presName="box" presStyleLbl="node1" presStyleIdx="0" presStyleCnt="3" custScaleY="59138"/>
      <dgm:spPr/>
      <dgm:t>
        <a:bodyPr/>
        <a:lstStyle/>
        <a:p>
          <a:endParaRPr lang="en-US"/>
        </a:p>
      </dgm:t>
    </dgm:pt>
    <dgm:pt modelId="{85F96C7A-D247-A24A-83DE-A0E7B2AEA9D2}" type="pres">
      <dgm:prSet presAssocID="{A0B8E40A-5ECA-C243-8FFA-78A07FCE57F3}" presName="img" presStyleLbl="fgImgPlace1" presStyleIdx="0" presStyleCnt="3" custScaleX="56833" custScaleY="55070"/>
      <dgm:spPr>
        <a:blipFill rotWithShape="1">
          <a:blip xmlns:r="http://schemas.openxmlformats.org/officeDocument/2006/relationships" r:embed="rId1"/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</dgm:pt>
    <dgm:pt modelId="{1197139D-5F35-C046-8AF1-A2A5D64BE59B}" type="pres">
      <dgm:prSet presAssocID="{A0B8E40A-5ECA-C243-8FFA-78A07FCE57F3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B89D25E-2126-4D45-8100-D666909D0CBD}" type="pres">
      <dgm:prSet presAssocID="{13B3730C-349C-7342-A5D5-CD1115AD5875}" presName="spacer" presStyleCnt="0"/>
      <dgm:spPr/>
      <dgm:t>
        <a:bodyPr/>
        <a:lstStyle/>
        <a:p>
          <a:endParaRPr lang="en-US"/>
        </a:p>
      </dgm:t>
    </dgm:pt>
    <dgm:pt modelId="{264C6561-64AE-4D41-9340-AB693163CD65}" type="pres">
      <dgm:prSet presAssocID="{000DB457-D67F-754C-931D-C1F95339A16B}" presName="comp" presStyleCnt="0"/>
      <dgm:spPr/>
      <dgm:t>
        <a:bodyPr/>
        <a:lstStyle/>
        <a:p>
          <a:endParaRPr lang="en-US"/>
        </a:p>
      </dgm:t>
    </dgm:pt>
    <dgm:pt modelId="{A06C09CF-DAD1-1646-A6A0-DD6AF37901E4}" type="pres">
      <dgm:prSet presAssocID="{000DB457-D67F-754C-931D-C1F95339A16B}" presName="box" presStyleLbl="node1" presStyleIdx="1" presStyleCnt="3" custScaleY="59138"/>
      <dgm:spPr/>
      <dgm:t>
        <a:bodyPr/>
        <a:lstStyle/>
        <a:p>
          <a:endParaRPr lang="en-US"/>
        </a:p>
      </dgm:t>
    </dgm:pt>
    <dgm:pt modelId="{777648AA-3098-5E45-90AD-06C8229E85AD}" type="pres">
      <dgm:prSet presAssocID="{000DB457-D67F-754C-931D-C1F95339A16B}" presName="img" presStyleLbl="fgImgPlace1" presStyleIdx="1" presStyleCnt="3" custScaleX="52038" custScaleY="56037" custLinFactNeighborY="-1438"/>
      <dgm:spPr>
        <a:blipFill rotWithShape="1">
          <a:blip xmlns:r="http://schemas.openxmlformats.org/officeDocument/2006/relationships" r:embed="rId2"/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</dgm:pt>
    <dgm:pt modelId="{9BFD68E7-3C7A-5542-82B9-255D622460D8}" type="pres">
      <dgm:prSet presAssocID="{000DB457-D67F-754C-931D-C1F95339A16B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BCF9FD0-9B0F-2840-B3DE-5803637BBE9C}" type="pres">
      <dgm:prSet presAssocID="{70F13A66-F82F-FF43-85E0-4DD02131CCB6}" presName="spacer" presStyleCnt="0"/>
      <dgm:spPr/>
      <dgm:t>
        <a:bodyPr/>
        <a:lstStyle/>
        <a:p>
          <a:endParaRPr lang="en-US"/>
        </a:p>
      </dgm:t>
    </dgm:pt>
    <dgm:pt modelId="{DDFB1A3F-8498-7D46-80D0-7D186087A9EE}" type="pres">
      <dgm:prSet presAssocID="{DB1A33F9-99C0-BE49-B741-50439D012BC9}" presName="comp" presStyleCnt="0"/>
      <dgm:spPr/>
      <dgm:t>
        <a:bodyPr/>
        <a:lstStyle/>
        <a:p>
          <a:endParaRPr lang="en-US"/>
        </a:p>
      </dgm:t>
    </dgm:pt>
    <dgm:pt modelId="{50C45F4C-7D6F-674B-A739-5D0C216D4C0D}" type="pres">
      <dgm:prSet presAssocID="{DB1A33F9-99C0-BE49-B741-50439D012BC9}" presName="box" presStyleLbl="node1" presStyleIdx="2" presStyleCnt="3" custScaleY="59138"/>
      <dgm:spPr/>
      <dgm:t>
        <a:bodyPr/>
        <a:lstStyle/>
        <a:p>
          <a:endParaRPr lang="en-US"/>
        </a:p>
      </dgm:t>
    </dgm:pt>
    <dgm:pt modelId="{7B5494D8-EA72-014E-9894-AF07FAAAEA32}" type="pres">
      <dgm:prSet presAssocID="{DB1A33F9-99C0-BE49-B741-50439D012BC9}" presName="img" presStyleLbl="fgImgPlace1" presStyleIdx="2" presStyleCnt="3" custScaleX="130166" custScaleY="58243"/>
      <dgm:spPr>
        <a:blipFill rotWithShape="1">
          <a:blip xmlns:r="http://schemas.openxmlformats.org/officeDocument/2006/relationships" r:embed="rId3"/>
          <a:stretch>
            <a:fillRect/>
          </a:stretch>
        </a:blipFill>
        <a:ln>
          <a:noFill/>
        </a:ln>
      </dgm:spPr>
      <dgm:t>
        <a:bodyPr/>
        <a:lstStyle/>
        <a:p>
          <a:endParaRPr lang="en-US"/>
        </a:p>
      </dgm:t>
    </dgm:pt>
    <dgm:pt modelId="{F5A36E14-61E7-C447-AA4E-7A9793EB0131}" type="pres">
      <dgm:prSet presAssocID="{DB1A33F9-99C0-BE49-B741-50439D012BC9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DDC4F3D-E408-7D4B-B6E2-4A7507C06E5C}" type="presOf" srcId="{FC8D5C18-07DB-934B-9C53-9F11AA412AA0}" destId="{1197139D-5F35-C046-8AF1-A2A5D64BE59B}" srcOrd="1" destOrd="1" presId="urn:microsoft.com/office/officeart/2005/8/layout/vList4"/>
    <dgm:cxn modelId="{268FE00F-43DF-434E-BA7A-2EBE5FC3035E}" type="presOf" srcId="{9A4CBF3F-485F-2A47-8238-9E88E680D4A1}" destId="{9BFD68E7-3C7A-5542-82B9-255D622460D8}" srcOrd="1" destOrd="1" presId="urn:microsoft.com/office/officeart/2005/8/layout/vList4"/>
    <dgm:cxn modelId="{2963673D-8B1B-914E-992E-6FF81846D282}" type="presOf" srcId="{A0B8E40A-5ECA-C243-8FFA-78A07FCE57F3}" destId="{1197139D-5F35-C046-8AF1-A2A5D64BE59B}" srcOrd="1" destOrd="0" presId="urn:microsoft.com/office/officeart/2005/8/layout/vList4"/>
    <dgm:cxn modelId="{36A4C0D5-A4B2-6140-8E7C-8C90FB27BA2C}" srcId="{A0B8E40A-5ECA-C243-8FFA-78A07FCE57F3}" destId="{FC8D5C18-07DB-934B-9C53-9F11AA412AA0}" srcOrd="0" destOrd="0" parTransId="{66E55CD5-C800-A649-A54D-E406371D09D8}" sibTransId="{E89391E0-BFAA-694D-AAF7-7E06634D213A}"/>
    <dgm:cxn modelId="{798CDAFF-793B-F741-AF6A-44572AE133CB}" type="presOf" srcId="{000DB457-D67F-754C-931D-C1F95339A16B}" destId="{A06C09CF-DAD1-1646-A6A0-DD6AF37901E4}" srcOrd="0" destOrd="0" presId="urn:microsoft.com/office/officeart/2005/8/layout/vList4"/>
    <dgm:cxn modelId="{19026DA6-5BBE-194D-9276-212BEC776C0E}" srcId="{000DB457-D67F-754C-931D-C1F95339A16B}" destId="{B7A56F1A-9E44-3C43-B92A-7431C05F21E9}" srcOrd="1" destOrd="0" parTransId="{F15C9851-8BB9-7645-BB67-312993D6B21B}" sibTransId="{AC7D19A2-5455-3A48-B9FE-37D317A7C955}"/>
    <dgm:cxn modelId="{329E7FD1-1F3C-E645-9B56-7FBFE8A0D41E}" srcId="{6056ED2B-D32D-B24F-82D4-82F1A6D4567B}" destId="{A0B8E40A-5ECA-C243-8FFA-78A07FCE57F3}" srcOrd="0" destOrd="0" parTransId="{323C404E-660C-9544-AE0D-657BF2A52835}" sibTransId="{13B3730C-349C-7342-A5D5-CD1115AD5875}"/>
    <dgm:cxn modelId="{85386FAE-171C-5C41-BFE1-F600A499248A}" type="presOf" srcId="{1D4BE2A9-09DE-A943-AB01-F0EC0A15ABE8}" destId="{F5A36E14-61E7-C447-AA4E-7A9793EB0131}" srcOrd="1" destOrd="1" presId="urn:microsoft.com/office/officeart/2005/8/layout/vList4"/>
    <dgm:cxn modelId="{B240FAB5-FA73-894A-B00A-7CD3569C5810}" type="presOf" srcId="{1D4BE2A9-09DE-A943-AB01-F0EC0A15ABE8}" destId="{50C45F4C-7D6F-674B-A739-5D0C216D4C0D}" srcOrd="0" destOrd="1" presId="urn:microsoft.com/office/officeart/2005/8/layout/vList4"/>
    <dgm:cxn modelId="{51DBE478-B5DC-654D-AC43-E0EE2C344726}" type="presOf" srcId="{6056ED2B-D32D-B24F-82D4-82F1A6D4567B}" destId="{6BE3C9D4-AA23-8340-B54A-6D93413A6589}" srcOrd="0" destOrd="0" presId="urn:microsoft.com/office/officeart/2005/8/layout/vList4"/>
    <dgm:cxn modelId="{68E0B30F-F88F-1144-A9CA-6FA274B1DE10}" srcId="{000DB457-D67F-754C-931D-C1F95339A16B}" destId="{9A4CBF3F-485F-2A47-8238-9E88E680D4A1}" srcOrd="0" destOrd="0" parTransId="{3F742351-E883-2F45-81A7-F6265DF87039}" sibTransId="{F9AD425A-062D-DC4B-9A0F-15B6E8B7A11D}"/>
    <dgm:cxn modelId="{3F3BA53E-5F66-8240-942F-C4B255E6E750}" type="presOf" srcId="{9A4CBF3F-485F-2A47-8238-9E88E680D4A1}" destId="{A06C09CF-DAD1-1646-A6A0-DD6AF37901E4}" srcOrd="0" destOrd="1" presId="urn:microsoft.com/office/officeart/2005/8/layout/vList4"/>
    <dgm:cxn modelId="{7EE7FDB7-5D5F-DD47-B6F4-32608F469955}" type="presOf" srcId="{B7A56F1A-9E44-3C43-B92A-7431C05F21E9}" destId="{9BFD68E7-3C7A-5542-82B9-255D622460D8}" srcOrd="1" destOrd="2" presId="urn:microsoft.com/office/officeart/2005/8/layout/vList4"/>
    <dgm:cxn modelId="{7134E3E8-2F5E-F44D-AF08-5460FD401204}" type="presOf" srcId="{A0B8E40A-5ECA-C243-8FFA-78A07FCE57F3}" destId="{6E5A9696-C7B6-B044-98B5-CD578E48FE22}" srcOrd="0" destOrd="0" presId="urn:microsoft.com/office/officeart/2005/8/layout/vList4"/>
    <dgm:cxn modelId="{F333B81E-D205-4B43-9949-2F63F12E84EF}" type="presOf" srcId="{B7A56F1A-9E44-3C43-B92A-7431C05F21E9}" destId="{A06C09CF-DAD1-1646-A6A0-DD6AF37901E4}" srcOrd="0" destOrd="2" presId="urn:microsoft.com/office/officeart/2005/8/layout/vList4"/>
    <dgm:cxn modelId="{DA8180B5-3459-8D4C-A5A8-1BC0E14F6412}" srcId="{6056ED2B-D32D-B24F-82D4-82F1A6D4567B}" destId="{DB1A33F9-99C0-BE49-B741-50439D012BC9}" srcOrd="2" destOrd="0" parTransId="{599D0D07-530E-D741-B26F-BE59964A9D16}" sibTransId="{DA5F5A42-FDFC-8A47-8ACC-576EF2DADD15}"/>
    <dgm:cxn modelId="{89157AAA-CC30-DB41-BBCA-2C37301689DE}" type="presOf" srcId="{000DB457-D67F-754C-931D-C1F95339A16B}" destId="{9BFD68E7-3C7A-5542-82B9-255D622460D8}" srcOrd="1" destOrd="0" presId="urn:microsoft.com/office/officeart/2005/8/layout/vList4"/>
    <dgm:cxn modelId="{E9920853-9CFD-6243-B155-384D436C0252}" type="presOf" srcId="{FC8D5C18-07DB-934B-9C53-9F11AA412AA0}" destId="{6E5A9696-C7B6-B044-98B5-CD578E48FE22}" srcOrd="0" destOrd="1" presId="urn:microsoft.com/office/officeart/2005/8/layout/vList4"/>
    <dgm:cxn modelId="{44DCC90E-CEAC-4B47-91DD-0F0FDEEAD00F}" type="presOf" srcId="{DB1A33F9-99C0-BE49-B741-50439D012BC9}" destId="{50C45F4C-7D6F-674B-A739-5D0C216D4C0D}" srcOrd="0" destOrd="0" presId="urn:microsoft.com/office/officeart/2005/8/layout/vList4"/>
    <dgm:cxn modelId="{F3B65BBA-AE10-DD41-99E8-7CA75835F54E}" type="presOf" srcId="{DB1A33F9-99C0-BE49-B741-50439D012BC9}" destId="{F5A36E14-61E7-C447-AA4E-7A9793EB0131}" srcOrd="1" destOrd="0" presId="urn:microsoft.com/office/officeart/2005/8/layout/vList4"/>
    <dgm:cxn modelId="{9E47B3D6-F13A-204C-91CE-DF0BAC63CCA2}" srcId="{DB1A33F9-99C0-BE49-B741-50439D012BC9}" destId="{1D4BE2A9-09DE-A943-AB01-F0EC0A15ABE8}" srcOrd="0" destOrd="0" parTransId="{D8E50926-54EB-1447-ADD0-C141FFBAEA31}" sibTransId="{D4377F47-456C-4C4D-BCBD-078644581D6D}"/>
    <dgm:cxn modelId="{41471BF4-FEFB-7047-93D2-3A325A6A9C3A}" srcId="{6056ED2B-D32D-B24F-82D4-82F1A6D4567B}" destId="{000DB457-D67F-754C-931D-C1F95339A16B}" srcOrd="1" destOrd="0" parTransId="{8D3F1E4E-8E74-374B-96FA-E6164A6B5FDF}" sibTransId="{70F13A66-F82F-FF43-85E0-4DD02131CCB6}"/>
    <dgm:cxn modelId="{92A32E3A-1BB6-6045-BA87-D7853584AF00}" type="presParOf" srcId="{6BE3C9D4-AA23-8340-B54A-6D93413A6589}" destId="{CCA057E8-EAB3-A549-91C7-919D200BED4F}" srcOrd="0" destOrd="0" presId="urn:microsoft.com/office/officeart/2005/8/layout/vList4"/>
    <dgm:cxn modelId="{1A99CC67-1945-B343-8BC9-DB7B5783B629}" type="presParOf" srcId="{CCA057E8-EAB3-A549-91C7-919D200BED4F}" destId="{6E5A9696-C7B6-B044-98B5-CD578E48FE22}" srcOrd="0" destOrd="0" presId="urn:microsoft.com/office/officeart/2005/8/layout/vList4"/>
    <dgm:cxn modelId="{CCCE576F-30A6-1843-AE87-C42DD574A7BC}" type="presParOf" srcId="{CCA057E8-EAB3-A549-91C7-919D200BED4F}" destId="{85F96C7A-D247-A24A-83DE-A0E7B2AEA9D2}" srcOrd="1" destOrd="0" presId="urn:microsoft.com/office/officeart/2005/8/layout/vList4"/>
    <dgm:cxn modelId="{548A6A0A-0733-C24E-AE5B-FDDDCE794997}" type="presParOf" srcId="{CCA057E8-EAB3-A549-91C7-919D200BED4F}" destId="{1197139D-5F35-C046-8AF1-A2A5D64BE59B}" srcOrd="2" destOrd="0" presId="urn:microsoft.com/office/officeart/2005/8/layout/vList4"/>
    <dgm:cxn modelId="{F451B901-8086-734D-BBE4-840573436B61}" type="presParOf" srcId="{6BE3C9D4-AA23-8340-B54A-6D93413A6589}" destId="{EB89D25E-2126-4D45-8100-D666909D0CBD}" srcOrd="1" destOrd="0" presId="urn:microsoft.com/office/officeart/2005/8/layout/vList4"/>
    <dgm:cxn modelId="{FFF13461-8921-9F4F-9499-27AE612D73DB}" type="presParOf" srcId="{6BE3C9D4-AA23-8340-B54A-6D93413A6589}" destId="{264C6561-64AE-4D41-9340-AB693163CD65}" srcOrd="2" destOrd="0" presId="urn:microsoft.com/office/officeart/2005/8/layout/vList4"/>
    <dgm:cxn modelId="{A62C4FD7-4241-C944-91E0-BFEBC8939EB1}" type="presParOf" srcId="{264C6561-64AE-4D41-9340-AB693163CD65}" destId="{A06C09CF-DAD1-1646-A6A0-DD6AF37901E4}" srcOrd="0" destOrd="0" presId="urn:microsoft.com/office/officeart/2005/8/layout/vList4"/>
    <dgm:cxn modelId="{02EE7BAF-5D0C-7E4E-BD8D-D9959EE56BD9}" type="presParOf" srcId="{264C6561-64AE-4D41-9340-AB693163CD65}" destId="{777648AA-3098-5E45-90AD-06C8229E85AD}" srcOrd="1" destOrd="0" presId="urn:microsoft.com/office/officeart/2005/8/layout/vList4"/>
    <dgm:cxn modelId="{18E51C8D-5DF5-0249-AD23-C5265D63BEB8}" type="presParOf" srcId="{264C6561-64AE-4D41-9340-AB693163CD65}" destId="{9BFD68E7-3C7A-5542-82B9-255D622460D8}" srcOrd="2" destOrd="0" presId="urn:microsoft.com/office/officeart/2005/8/layout/vList4"/>
    <dgm:cxn modelId="{21BABBA5-6326-E143-BF4E-CA2BF99452AE}" type="presParOf" srcId="{6BE3C9D4-AA23-8340-B54A-6D93413A6589}" destId="{1BCF9FD0-9B0F-2840-B3DE-5803637BBE9C}" srcOrd="3" destOrd="0" presId="urn:microsoft.com/office/officeart/2005/8/layout/vList4"/>
    <dgm:cxn modelId="{B84BF762-3C50-C941-B1BA-55FFB86BB93D}" type="presParOf" srcId="{6BE3C9D4-AA23-8340-B54A-6D93413A6589}" destId="{DDFB1A3F-8498-7D46-80D0-7D186087A9EE}" srcOrd="4" destOrd="0" presId="urn:microsoft.com/office/officeart/2005/8/layout/vList4"/>
    <dgm:cxn modelId="{2D5D75D8-D465-D64B-93D5-80BA2D0EC26A}" type="presParOf" srcId="{DDFB1A3F-8498-7D46-80D0-7D186087A9EE}" destId="{50C45F4C-7D6F-674B-A739-5D0C216D4C0D}" srcOrd="0" destOrd="0" presId="urn:microsoft.com/office/officeart/2005/8/layout/vList4"/>
    <dgm:cxn modelId="{149735D6-1966-7A42-A6D6-528692503DC2}" type="presParOf" srcId="{DDFB1A3F-8498-7D46-80D0-7D186087A9EE}" destId="{7B5494D8-EA72-014E-9894-AF07FAAAEA32}" srcOrd="1" destOrd="0" presId="urn:microsoft.com/office/officeart/2005/8/layout/vList4"/>
    <dgm:cxn modelId="{87F2EB3E-FFA4-0E44-AA47-AF08286B9D15}" type="presParOf" srcId="{DDFB1A3F-8498-7D46-80D0-7D186087A9EE}" destId="{F5A36E14-61E7-C447-AA4E-7A9793EB0131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11DB5A2-88B0-4382-B9CC-9DEEC445A9B5}" type="doc">
      <dgm:prSet loTypeId="urn:microsoft.com/office/officeart/2005/8/layout/pyramid3" loCatId="pyramid" qsTypeId="urn:microsoft.com/office/officeart/2005/8/quickstyle/simple1" qsCatId="simple" csTypeId="urn:microsoft.com/office/officeart/2005/8/colors/accent1_2" csCatId="accent1" phldr="1"/>
      <dgm:spPr/>
    </dgm:pt>
    <dgm:pt modelId="{76063ECE-EB9D-4F6E-A015-6B5499F7EF9A}">
      <dgm:prSet phldrT="[Text]" custT="1"/>
      <dgm:spPr>
        <a:solidFill>
          <a:schemeClr val="tx2">
            <a:lumMod val="75000"/>
          </a:schemeClr>
        </a:solidFill>
      </dgm:spPr>
      <dgm:t>
        <a:bodyPr/>
        <a:lstStyle/>
        <a:p>
          <a:r>
            <a:rPr lang="en-US" sz="1200" dirty="0" smtClean="0">
              <a:solidFill>
                <a:schemeClr val="bg1"/>
              </a:solidFill>
            </a:rPr>
            <a:t>Topics of Interest</a:t>
          </a:r>
          <a:endParaRPr lang="en-US" sz="1200" dirty="0">
            <a:solidFill>
              <a:schemeClr val="bg1"/>
            </a:solidFill>
          </a:endParaRPr>
        </a:p>
      </dgm:t>
    </dgm:pt>
    <dgm:pt modelId="{A5F019CD-4557-43F9-A0C0-B7E5ADD37DBE}" type="parTrans" cxnId="{7D9D70BF-5864-4AAA-B879-F8F02754C928}">
      <dgm:prSet/>
      <dgm:spPr/>
      <dgm:t>
        <a:bodyPr/>
        <a:lstStyle/>
        <a:p>
          <a:endParaRPr lang="en-US" sz="1200"/>
        </a:p>
      </dgm:t>
    </dgm:pt>
    <dgm:pt modelId="{F8236BD0-1DCC-43C3-900F-1913F9008D7B}" type="sibTrans" cxnId="{7D9D70BF-5864-4AAA-B879-F8F02754C928}">
      <dgm:prSet/>
      <dgm:spPr/>
      <dgm:t>
        <a:bodyPr/>
        <a:lstStyle/>
        <a:p>
          <a:endParaRPr lang="en-US" sz="1200"/>
        </a:p>
      </dgm:t>
    </dgm:pt>
    <dgm:pt modelId="{6E7DC3EA-AD3B-4176-BA50-B8DF8D8B0663}">
      <dgm:prSet phldrT="[Text]" custT="1"/>
      <dgm:spPr>
        <a:solidFill>
          <a:schemeClr val="bg2"/>
        </a:solidFill>
      </dgm:spPr>
      <dgm:t>
        <a:bodyPr/>
        <a:lstStyle/>
        <a:p>
          <a:r>
            <a:rPr lang="en-US" sz="1200" dirty="0" smtClean="0"/>
            <a:t>Levels of Innovation</a:t>
          </a:r>
          <a:endParaRPr lang="en-US" sz="1200" dirty="0"/>
        </a:p>
      </dgm:t>
    </dgm:pt>
    <dgm:pt modelId="{5F024C04-487C-4A9A-B2E7-3DAB4D2BB74A}" type="parTrans" cxnId="{F9D5AAA5-0BDB-420F-82A8-33AC9808C2B2}">
      <dgm:prSet/>
      <dgm:spPr/>
      <dgm:t>
        <a:bodyPr/>
        <a:lstStyle/>
        <a:p>
          <a:endParaRPr lang="en-US" sz="1200"/>
        </a:p>
      </dgm:t>
    </dgm:pt>
    <dgm:pt modelId="{7769F8B6-501C-46EB-98F0-4441BD90EBFC}" type="sibTrans" cxnId="{F9D5AAA5-0BDB-420F-82A8-33AC9808C2B2}">
      <dgm:prSet/>
      <dgm:spPr/>
      <dgm:t>
        <a:bodyPr/>
        <a:lstStyle/>
        <a:p>
          <a:endParaRPr lang="en-US" sz="1200"/>
        </a:p>
      </dgm:t>
    </dgm:pt>
    <dgm:pt modelId="{565777A2-5434-4CE8-A93A-B9F665B0871E}">
      <dgm:prSet phldrT="[Text]" custT="1"/>
      <dgm:spPr/>
      <dgm:t>
        <a:bodyPr/>
        <a:lstStyle/>
        <a:p>
          <a:r>
            <a:rPr lang="en-US" sz="1200" dirty="0" smtClean="0"/>
            <a:t>Democratic voting process </a:t>
          </a:r>
          <a:endParaRPr lang="en-US" sz="1200" dirty="0"/>
        </a:p>
      </dgm:t>
    </dgm:pt>
    <dgm:pt modelId="{B761E6FA-3F9A-43E9-82A1-BB45E2383000}" type="parTrans" cxnId="{EF0F4426-FE8F-4EFD-92A6-2C004ED9D14D}">
      <dgm:prSet/>
      <dgm:spPr/>
      <dgm:t>
        <a:bodyPr/>
        <a:lstStyle/>
        <a:p>
          <a:endParaRPr lang="en-US" sz="1200"/>
        </a:p>
      </dgm:t>
    </dgm:pt>
    <dgm:pt modelId="{2F0FE117-D20A-4530-8C47-E0505BD4F8A3}" type="sibTrans" cxnId="{EF0F4426-FE8F-4EFD-92A6-2C004ED9D14D}">
      <dgm:prSet/>
      <dgm:spPr/>
      <dgm:t>
        <a:bodyPr/>
        <a:lstStyle/>
        <a:p>
          <a:endParaRPr lang="en-US" sz="1200"/>
        </a:p>
      </dgm:t>
    </dgm:pt>
    <dgm:pt modelId="{A83FEA56-568A-4451-BC76-93BAC1F0D35A}">
      <dgm:prSet phldrT="[Text]" custT="1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n-US" sz="1000" dirty="0" smtClean="0"/>
            <a:t>Research</a:t>
          </a:r>
          <a:endParaRPr lang="en-US" sz="1000" dirty="0"/>
        </a:p>
      </dgm:t>
    </dgm:pt>
    <dgm:pt modelId="{D3F2015C-BE69-4B8A-AA32-7C63B51CE1AC}" type="parTrans" cxnId="{170DE8CD-1C2D-4FC2-A0A2-712C197BE88B}">
      <dgm:prSet/>
      <dgm:spPr/>
      <dgm:t>
        <a:bodyPr/>
        <a:lstStyle/>
        <a:p>
          <a:endParaRPr lang="en-US" sz="1200"/>
        </a:p>
      </dgm:t>
    </dgm:pt>
    <dgm:pt modelId="{6BA4660C-AB79-4F6D-9524-653F0DA6C3C9}" type="sibTrans" cxnId="{170DE8CD-1C2D-4FC2-A0A2-712C197BE88B}">
      <dgm:prSet/>
      <dgm:spPr/>
      <dgm:t>
        <a:bodyPr/>
        <a:lstStyle/>
        <a:p>
          <a:endParaRPr lang="en-US" sz="1200"/>
        </a:p>
      </dgm:t>
    </dgm:pt>
    <dgm:pt modelId="{81A68394-E856-4960-8B38-944B6798B3D0}" type="pres">
      <dgm:prSet presAssocID="{111DB5A2-88B0-4382-B9CC-9DEEC445A9B5}" presName="Name0" presStyleCnt="0">
        <dgm:presLayoutVars>
          <dgm:dir/>
          <dgm:animLvl val="lvl"/>
          <dgm:resizeHandles val="exact"/>
        </dgm:presLayoutVars>
      </dgm:prSet>
      <dgm:spPr/>
    </dgm:pt>
    <dgm:pt modelId="{BA325FA6-580F-4238-A893-673C4F091CA6}" type="pres">
      <dgm:prSet presAssocID="{76063ECE-EB9D-4F6E-A015-6B5499F7EF9A}" presName="Name8" presStyleCnt="0"/>
      <dgm:spPr/>
    </dgm:pt>
    <dgm:pt modelId="{C1D11D2C-A165-4949-85BD-831EF1A2FB42}" type="pres">
      <dgm:prSet presAssocID="{76063ECE-EB9D-4F6E-A015-6B5499F7EF9A}" presName="level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4933BA7-D00A-4795-9AA9-0FA2C7E8733E}" type="pres">
      <dgm:prSet presAssocID="{76063ECE-EB9D-4F6E-A015-6B5499F7EF9A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F182A76-D4A1-49A1-8BFC-55FD0A08EF8A}" type="pres">
      <dgm:prSet presAssocID="{6E7DC3EA-AD3B-4176-BA50-B8DF8D8B0663}" presName="Name8" presStyleCnt="0"/>
      <dgm:spPr/>
    </dgm:pt>
    <dgm:pt modelId="{EC72BEBA-A20C-4A9C-8A89-100760F32190}" type="pres">
      <dgm:prSet presAssocID="{6E7DC3EA-AD3B-4176-BA50-B8DF8D8B0663}" presName="level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E891A6E-3367-43BC-86FD-0EC7E8D33917}" type="pres">
      <dgm:prSet presAssocID="{6E7DC3EA-AD3B-4176-BA50-B8DF8D8B066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3A77076-265E-410C-A36F-FD6591584678}" type="pres">
      <dgm:prSet presAssocID="{565777A2-5434-4CE8-A93A-B9F665B0871E}" presName="Name8" presStyleCnt="0"/>
      <dgm:spPr/>
    </dgm:pt>
    <dgm:pt modelId="{D4122670-ED33-4A0F-8B42-2E9813CE5AFE}" type="pres">
      <dgm:prSet presAssocID="{565777A2-5434-4CE8-A93A-B9F665B0871E}" presName="level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045F654-13CC-4E44-95FF-234FF958DAE1}" type="pres">
      <dgm:prSet presAssocID="{565777A2-5434-4CE8-A93A-B9F665B0871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3AF4E0-B8D2-4F71-8664-996E24ED6D9B}" type="pres">
      <dgm:prSet presAssocID="{A83FEA56-568A-4451-BC76-93BAC1F0D35A}" presName="Name8" presStyleCnt="0"/>
      <dgm:spPr/>
    </dgm:pt>
    <dgm:pt modelId="{8FA5E041-8B73-4715-9835-D02CF762DD0C}" type="pres">
      <dgm:prSet presAssocID="{A83FEA56-568A-4451-BC76-93BAC1F0D35A}" presName="level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6357931-1887-4F67-BC13-6F31EAA8059E}" type="pres">
      <dgm:prSet presAssocID="{A83FEA56-568A-4451-BC76-93BAC1F0D35A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2A29055-3CAF-4B3B-9517-6C0A0615790E}" type="presOf" srcId="{76063ECE-EB9D-4F6E-A015-6B5499F7EF9A}" destId="{C1D11D2C-A165-4949-85BD-831EF1A2FB42}" srcOrd="0" destOrd="0" presId="urn:microsoft.com/office/officeart/2005/8/layout/pyramid3"/>
    <dgm:cxn modelId="{7BA7A18A-0DD4-4A62-A878-88968D0F5864}" type="presOf" srcId="{6E7DC3EA-AD3B-4176-BA50-B8DF8D8B0663}" destId="{1E891A6E-3367-43BC-86FD-0EC7E8D33917}" srcOrd="1" destOrd="0" presId="urn:microsoft.com/office/officeart/2005/8/layout/pyramid3"/>
    <dgm:cxn modelId="{F9D5AAA5-0BDB-420F-82A8-33AC9808C2B2}" srcId="{111DB5A2-88B0-4382-B9CC-9DEEC445A9B5}" destId="{6E7DC3EA-AD3B-4176-BA50-B8DF8D8B0663}" srcOrd="1" destOrd="0" parTransId="{5F024C04-487C-4A9A-B2E7-3DAB4D2BB74A}" sibTransId="{7769F8B6-501C-46EB-98F0-4441BD90EBFC}"/>
    <dgm:cxn modelId="{90ED784D-A6ED-4A22-A931-0EB4B1D7F850}" type="presOf" srcId="{A83FEA56-568A-4451-BC76-93BAC1F0D35A}" destId="{8FA5E041-8B73-4715-9835-D02CF762DD0C}" srcOrd="0" destOrd="0" presId="urn:microsoft.com/office/officeart/2005/8/layout/pyramid3"/>
    <dgm:cxn modelId="{FEF551A2-8ED0-4106-9A34-3BFFB43F4A13}" type="presOf" srcId="{565777A2-5434-4CE8-A93A-B9F665B0871E}" destId="{0045F654-13CC-4E44-95FF-234FF958DAE1}" srcOrd="1" destOrd="0" presId="urn:microsoft.com/office/officeart/2005/8/layout/pyramid3"/>
    <dgm:cxn modelId="{7D9D70BF-5864-4AAA-B879-F8F02754C928}" srcId="{111DB5A2-88B0-4382-B9CC-9DEEC445A9B5}" destId="{76063ECE-EB9D-4F6E-A015-6B5499F7EF9A}" srcOrd="0" destOrd="0" parTransId="{A5F019CD-4557-43F9-A0C0-B7E5ADD37DBE}" sibTransId="{F8236BD0-1DCC-43C3-900F-1913F9008D7B}"/>
    <dgm:cxn modelId="{1B20CB85-F42A-4FD2-90B1-BEFF692AB206}" type="presOf" srcId="{6E7DC3EA-AD3B-4176-BA50-B8DF8D8B0663}" destId="{EC72BEBA-A20C-4A9C-8A89-100760F32190}" srcOrd="0" destOrd="0" presId="urn:microsoft.com/office/officeart/2005/8/layout/pyramid3"/>
    <dgm:cxn modelId="{661E4909-FD94-4C72-980C-A33BE6523592}" type="presOf" srcId="{111DB5A2-88B0-4382-B9CC-9DEEC445A9B5}" destId="{81A68394-E856-4960-8B38-944B6798B3D0}" srcOrd="0" destOrd="0" presId="urn:microsoft.com/office/officeart/2005/8/layout/pyramid3"/>
    <dgm:cxn modelId="{EF0F4426-FE8F-4EFD-92A6-2C004ED9D14D}" srcId="{111DB5A2-88B0-4382-B9CC-9DEEC445A9B5}" destId="{565777A2-5434-4CE8-A93A-B9F665B0871E}" srcOrd="2" destOrd="0" parTransId="{B761E6FA-3F9A-43E9-82A1-BB45E2383000}" sibTransId="{2F0FE117-D20A-4530-8C47-E0505BD4F8A3}"/>
    <dgm:cxn modelId="{4DFA9F06-F7F4-4487-BED6-C9D6C4220DC6}" type="presOf" srcId="{565777A2-5434-4CE8-A93A-B9F665B0871E}" destId="{D4122670-ED33-4A0F-8B42-2E9813CE5AFE}" srcOrd="0" destOrd="0" presId="urn:microsoft.com/office/officeart/2005/8/layout/pyramid3"/>
    <dgm:cxn modelId="{60D26B57-89BF-4B47-89AD-B1C74F2B9F3E}" type="presOf" srcId="{A83FEA56-568A-4451-BC76-93BAC1F0D35A}" destId="{A6357931-1887-4F67-BC13-6F31EAA8059E}" srcOrd="1" destOrd="0" presId="urn:microsoft.com/office/officeart/2005/8/layout/pyramid3"/>
    <dgm:cxn modelId="{35203D6C-E4D7-4244-AE75-23264864EF54}" type="presOf" srcId="{76063ECE-EB9D-4F6E-A015-6B5499F7EF9A}" destId="{94933BA7-D00A-4795-9AA9-0FA2C7E8733E}" srcOrd="1" destOrd="0" presId="urn:microsoft.com/office/officeart/2005/8/layout/pyramid3"/>
    <dgm:cxn modelId="{170DE8CD-1C2D-4FC2-A0A2-712C197BE88B}" srcId="{111DB5A2-88B0-4382-B9CC-9DEEC445A9B5}" destId="{A83FEA56-568A-4451-BC76-93BAC1F0D35A}" srcOrd="3" destOrd="0" parTransId="{D3F2015C-BE69-4B8A-AA32-7C63B51CE1AC}" sibTransId="{6BA4660C-AB79-4F6D-9524-653F0DA6C3C9}"/>
    <dgm:cxn modelId="{68BAEED6-D732-4D09-B10F-B5627CAA9A27}" type="presParOf" srcId="{81A68394-E856-4960-8B38-944B6798B3D0}" destId="{BA325FA6-580F-4238-A893-673C4F091CA6}" srcOrd="0" destOrd="0" presId="urn:microsoft.com/office/officeart/2005/8/layout/pyramid3"/>
    <dgm:cxn modelId="{43DAB91F-C517-4874-AC0E-6BB85D627F5D}" type="presParOf" srcId="{BA325FA6-580F-4238-A893-673C4F091CA6}" destId="{C1D11D2C-A165-4949-85BD-831EF1A2FB42}" srcOrd="0" destOrd="0" presId="urn:microsoft.com/office/officeart/2005/8/layout/pyramid3"/>
    <dgm:cxn modelId="{457920F9-9ED4-4731-89B8-BC4D70F18148}" type="presParOf" srcId="{BA325FA6-580F-4238-A893-673C4F091CA6}" destId="{94933BA7-D00A-4795-9AA9-0FA2C7E8733E}" srcOrd="1" destOrd="0" presId="urn:microsoft.com/office/officeart/2005/8/layout/pyramid3"/>
    <dgm:cxn modelId="{17168FB3-0A49-4650-97DB-9793CA15359E}" type="presParOf" srcId="{81A68394-E856-4960-8B38-944B6798B3D0}" destId="{7F182A76-D4A1-49A1-8BFC-55FD0A08EF8A}" srcOrd="1" destOrd="0" presId="urn:microsoft.com/office/officeart/2005/8/layout/pyramid3"/>
    <dgm:cxn modelId="{82243D78-0A2C-4E4F-9984-9504B4A39FBB}" type="presParOf" srcId="{7F182A76-D4A1-49A1-8BFC-55FD0A08EF8A}" destId="{EC72BEBA-A20C-4A9C-8A89-100760F32190}" srcOrd="0" destOrd="0" presId="urn:microsoft.com/office/officeart/2005/8/layout/pyramid3"/>
    <dgm:cxn modelId="{3CE707E9-77AB-426D-89B3-74192984010F}" type="presParOf" srcId="{7F182A76-D4A1-49A1-8BFC-55FD0A08EF8A}" destId="{1E891A6E-3367-43BC-86FD-0EC7E8D33917}" srcOrd="1" destOrd="0" presId="urn:microsoft.com/office/officeart/2005/8/layout/pyramid3"/>
    <dgm:cxn modelId="{247F33B7-78AF-483A-8D80-1CAE002B8B36}" type="presParOf" srcId="{81A68394-E856-4960-8B38-944B6798B3D0}" destId="{13A77076-265E-410C-A36F-FD6591584678}" srcOrd="2" destOrd="0" presId="urn:microsoft.com/office/officeart/2005/8/layout/pyramid3"/>
    <dgm:cxn modelId="{C9064BBA-0E9C-41EF-9B9E-3878806047ED}" type="presParOf" srcId="{13A77076-265E-410C-A36F-FD6591584678}" destId="{D4122670-ED33-4A0F-8B42-2E9813CE5AFE}" srcOrd="0" destOrd="0" presId="urn:microsoft.com/office/officeart/2005/8/layout/pyramid3"/>
    <dgm:cxn modelId="{9703D2BA-7CCA-40B2-A401-F567DA41C134}" type="presParOf" srcId="{13A77076-265E-410C-A36F-FD6591584678}" destId="{0045F654-13CC-4E44-95FF-234FF958DAE1}" srcOrd="1" destOrd="0" presId="urn:microsoft.com/office/officeart/2005/8/layout/pyramid3"/>
    <dgm:cxn modelId="{60DEDE28-F5D6-41DB-9B1F-5BE73F48C753}" type="presParOf" srcId="{81A68394-E856-4960-8B38-944B6798B3D0}" destId="{733AF4E0-B8D2-4F71-8664-996E24ED6D9B}" srcOrd="3" destOrd="0" presId="urn:microsoft.com/office/officeart/2005/8/layout/pyramid3"/>
    <dgm:cxn modelId="{7F4878D2-FDB3-44C6-8510-5F47A1B323DD}" type="presParOf" srcId="{733AF4E0-B8D2-4F71-8664-996E24ED6D9B}" destId="{8FA5E041-8B73-4715-9835-D02CF762DD0C}" srcOrd="0" destOrd="0" presId="urn:microsoft.com/office/officeart/2005/8/layout/pyramid3"/>
    <dgm:cxn modelId="{FF2868B6-F769-4B7D-91C4-FE45CF5A3BC0}" type="presParOf" srcId="{733AF4E0-B8D2-4F71-8664-996E24ED6D9B}" destId="{A6357931-1887-4F67-BC13-6F31EAA8059E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E47F7E0-EB5A-A143-90E3-7EA34C8BD69F}" type="doc">
      <dgm:prSet loTypeId="urn:microsoft.com/office/officeart/2005/8/layout/default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E0DBA2E-3473-7D43-BE4A-6C136D5DEFC9}">
      <dgm:prSet/>
      <dgm:spPr>
        <a:solidFill>
          <a:srgbClr val="5B9BD5"/>
        </a:solidFill>
      </dgm:spPr>
      <dgm:t>
        <a:bodyPr/>
        <a:lstStyle/>
        <a:p>
          <a:pPr rtl="0"/>
          <a:r>
            <a:rPr lang="en-US" dirty="0" smtClean="0"/>
            <a:t>Produces a lot of waste</a:t>
          </a:r>
          <a:endParaRPr lang="en-US" dirty="0"/>
        </a:p>
      </dgm:t>
    </dgm:pt>
    <dgm:pt modelId="{617D4921-6AFD-494F-A4C0-6C02D204F56F}" type="parTrans" cxnId="{F6825FC0-6E33-1249-AAFE-1BCCFE9A1780}">
      <dgm:prSet/>
      <dgm:spPr/>
      <dgm:t>
        <a:bodyPr/>
        <a:lstStyle/>
        <a:p>
          <a:endParaRPr lang="en-US"/>
        </a:p>
      </dgm:t>
    </dgm:pt>
    <dgm:pt modelId="{E1F43FA4-2175-B340-965C-9C806D5DB964}" type="sibTrans" cxnId="{F6825FC0-6E33-1249-AAFE-1BCCFE9A1780}">
      <dgm:prSet/>
      <dgm:spPr/>
      <dgm:t>
        <a:bodyPr/>
        <a:lstStyle/>
        <a:p>
          <a:endParaRPr lang="en-US"/>
        </a:p>
      </dgm:t>
    </dgm:pt>
    <dgm:pt modelId="{50383059-23C4-C249-8D2A-5328EDE6A15F}">
      <dgm:prSet/>
      <dgm:spPr>
        <a:solidFill>
          <a:srgbClr val="5B9BD5"/>
        </a:solidFill>
      </dgm:spPr>
      <dgm:t>
        <a:bodyPr/>
        <a:lstStyle/>
        <a:p>
          <a:pPr rtl="0"/>
          <a:r>
            <a:rPr lang="en-US" dirty="0" smtClean="0"/>
            <a:t>Inconvenience of repeat purchase</a:t>
          </a:r>
          <a:endParaRPr lang="en-US" dirty="0"/>
        </a:p>
      </dgm:t>
    </dgm:pt>
    <dgm:pt modelId="{499F37CE-19DA-5241-9B4C-F7A3FB7492DE}" type="parTrans" cxnId="{2DB49F0D-C3AD-8B42-87EA-CA323C5472A8}">
      <dgm:prSet/>
      <dgm:spPr/>
      <dgm:t>
        <a:bodyPr/>
        <a:lstStyle/>
        <a:p>
          <a:endParaRPr lang="en-US"/>
        </a:p>
      </dgm:t>
    </dgm:pt>
    <dgm:pt modelId="{A37E342C-A16F-754A-B4A6-50BA86A9A42C}" type="sibTrans" cxnId="{2DB49F0D-C3AD-8B42-87EA-CA323C5472A8}">
      <dgm:prSet/>
      <dgm:spPr/>
      <dgm:t>
        <a:bodyPr/>
        <a:lstStyle/>
        <a:p>
          <a:endParaRPr lang="en-US"/>
        </a:p>
      </dgm:t>
    </dgm:pt>
    <dgm:pt modelId="{A61ACFD4-CBBD-D644-A189-3039903A36EE}">
      <dgm:prSet/>
      <dgm:spPr>
        <a:solidFill>
          <a:srgbClr val="43546A"/>
        </a:solidFill>
      </dgm:spPr>
      <dgm:t>
        <a:bodyPr/>
        <a:lstStyle/>
        <a:p>
          <a:pPr rtl="0"/>
          <a:r>
            <a:rPr lang="en-US" dirty="0" smtClean="0"/>
            <a:t>Requires</a:t>
          </a:r>
          <a:r>
            <a:rPr lang="en-US" baseline="0" dirty="0" smtClean="0"/>
            <a:t> purchase of multiple products</a:t>
          </a:r>
          <a:endParaRPr lang="en-US" dirty="0"/>
        </a:p>
      </dgm:t>
    </dgm:pt>
    <dgm:pt modelId="{459CEF0F-0B08-B849-9801-6DCD35CD59E0}" type="parTrans" cxnId="{20323293-95D2-F046-A1FB-0C021DD4DCB4}">
      <dgm:prSet/>
      <dgm:spPr/>
      <dgm:t>
        <a:bodyPr/>
        <a:lstStyle/>
        <a:p>
          <a:endParaRPr lang="en-US"/>
        </a:p>
      </dgm:t>
    </dgm:pt>
    <dgm:pt modelId="{6ACD77E2-07FF-8F42-9030-A81B04A01552}" type="sibTrans" cxnId="{20323293-95D2-F046-A1FB-0C021DD4DCB4}">
      <dgm:prSet/>
      <dgm:spPr/>
      <dgm:t>
        <a:bodyPr/>
        <a:lstStyle/>
        <a:p>
          <a:endParaRPr lang="en-US"/>
        </a:p>
      </dgm:t>
    </dgm:pt>
    <dgm:pt modelId="{A8044EFB-DBE2-F84F-A403-B73687BFEC5E}">
      <dgm:prSet/>
      <dgm:spPr>
        <a:solidFill>
          <a:srgbClr val="43546A"/>
        </a:solidFill>
      </dgm:spPr>
      <dgm:t>
        <a:bodyPr/>
        <a:lstStyle/>
        <a:p>
          <a:pPr rtl="0"/>
          <a:r>
            <a:rPr lang="en-US" dirty="0" smtClean="0"/>
            <a:t>Only exists for </a:t>
          </a:r>
          <a:r>
            <a:rPr lang="en-US" dirty="0" err="1" smtClean="0"/>
            <a:t>iPad</a:t>
          </a:r>
          <a:r>
            <a:rPr lang="en-US" dirty="0" smtClean="0"/>
            <a:t> and </a:t>
          </a:r>
          <a:r>
            <a:rPr lang="en-US" dirty="0" err="1" smtClean="0"/>
            <a:t>iPad</a:t>
          </a:r>
          <a:r>
            <a:rPr lang="en-US" dirty="0" smtClean="0"/>
            <a:t> 2</a:t>
          </a:r>
          <a:endParaRPr lang="en-US" dirty="0"/>
        </a:p>
      </dgm:t>
    </dgm:pt>
    <dgm:pt modelId="{3BEF932A-5284-814A-8E37-D3408C87B225}" type="parTrans" cxnId="{51343E56-B7EC-8642-8CE6-6F42743DA99D}">
      <dgm:prSet/>
      <dgm:spPr/>
      <dgm:t>
        <a:bodyPr/>
        <a:lstStyle/>
        <a:p>
          <a:endParaRPr lang="en-US"/>
        </a:p>
      </dgm:t>
    </dgm:pt>
    <dgm:pt modelId="{80A87055-446D-E348-BA19-E64FAA9D403A}" type="sibTrans" cxnId="{51343E56-B7EC-8642-8CE6-6F42743DA99D}">
      <dgm:prSet/>
      <dgm:spPr/>
      <dgm:t>
        <a:bodyPr/>
        <a:lstStyle/>
        <a:p>
          <a:endParaRPr lang="en-US"/>
        </a:p>
      </dgm:t>
    </dgm:pt>
    <dgm:pt modelId="{8FDAC54D-2BF3-4D46-8F12-C5E3DD94ED51}" type="pres">
      <dgm:prSet presAssocID="{0E47F7E0-EB5A-A143-90E3-7EA34C8BD69F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93E2768-4F75-7746-B6DC-A134AB22D478}" type="pres">
      <dgm:prSet presAssocID="{A8044EFB-DBE2-F84F-A403-B73687BFEC5E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6467D27-75E8-5545-ABDB-EF30FEC0FB3A}" type="pres">
      <dgm:prSet presAssocID="{80A87055-446D-E348-BA19-E64FAA9D403A}" presName="sibTrans" presStyleCnt="0"/>
      <dgm:spPr/>
    </dgm:pt>
    <dgm:pt modelId="{62B06E58-BCE7-2348-8E25-AF0EE3CE4EC7}" type="pres">
      <dgm:prSet presAssocID="{EE0DBA2E-3473-7D43-BE4A-6C136D5DEFC9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BDA4C7-8BE1-3444-9FAE-5C0B7A448C46}" type="pres">
      <dgm:prSet presAssocID="{E1F43FA4-2175-B340-965C-9C806D5DB964}" presName="sibTrans" presStyleCnt="0"/>
      <dgm:spPr/>
    </dgm:pt>
    <dgm:pt modelId="{104C2749-692B-ED4C-8874-22D2AFFCC343}" type="pres">
      <dgm:prSet presAssocID="{50383059-23C4-C249-8D2A-5328EDE6A15F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DD056DA-6733-6742-8460-5F4D2BB31781}" type="pres">
      <dgm:prSet presAssocID="{A37E342C-A16F-754A-B4A6-50BA86A9A42C}" presName="sibTrans" presStyleCnt="0"/>
      <dgm:spPr/>
    </dgm:pt>
    <dgm:pt modelId="{05B3F51E-C6C5-BD43-8724-4721215F78A3}" type="pres">
      <dgm:prSet presAssocID="{A61ACFD4-CBBD-D644-A189-3039903A36EE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DB49F0D-C3AD-8B42-87EA-CA323C5472A8}" srcId="{0E47F7E0-EB5A-A143-90E3-7EA34C8BD69F}" destId="{50383059-23C4-C249-8D2A-5328EDE6A15F}" srcOrd="2" destOrd="0" parTransId="{499F37CE-19DA-5241-9B4C-F7A3FB7492DE}" sibTransId="{A37E342C-A16F-754A-B4A6-50BA86A9A42C}"/>
    <dgm:cxn modelId="{364E58AF-26B2-AC4B-8244-0E182C9207B6}" type="presOf" srcId="{A61ACFD4-CBBD-D644-A189-3039903A36EE}" destId="{05B3F51E-C6C5-BD43-8724-4721215F78A3}" srcOrd="0" destOrd="0" presId="urn:microsoft.com/office/officeart/2005/8/layout/default"/>
    <dgm:cxn modelId="{411A18B8-B133-384A-90E0-E9F2AC84779D}" type="presOf" srcId="{0E47F7E0-EB5A-A143-90E3-7EA34C8BD69F}" destId="{8FDAC54D-2BF3-4D46-8F12-C5E3DD94ED51}" srcOrd="0" destOrd="0" presId="urn:microsoft.com/office/officeart/2005/8/layout/default"/>
    <dgm:cxn modelId="{6B69E720-CF89-E742-BCC6-B100CBDB7863}" type="presOf" srcId="{EE0DBA2E-3473-7D43-BE4A-6C136D5DEFC9}" destId="{62B06E58-BCE7-2348-8E25-AF0EE3CE4EC7}" srcOrd="0" destOrd="0" presId="urn:microsoft.com/office/officeart/2005/8/layout/default"/>
    <dgm:cxn modelId="{20323293-95D2-F046-A1FB-0C021DD4DCB4}" srcId="{0E47F7E0-EB5A-A143-90E3-7EA34C8BD69F}" destId="{A61ACFD4-CBBD-D644-A189-3039903A36EE}" srcOrd="3" destOrd="0" parTransId="{459CEF0F-0B08-B849-9801-6DCD35CD59E0}" sibTransId="{6ACD77E2-07FF-8F42-9030-A81B04A01552}"/>
    <dgm:cxn modelId="{D58710B6-10F8-BF47-9BB2-6B09E495F95D}" type="presOf" srcId="{50383059-23C4-C249-8D2A-5328EDE6A15F}" destId="{104C2749-692B-ED4C-8874-22D2AFFCC343}" srcOrd="0" destOrd="0" presId="urn:microsoft.com/office/officeart/2005/8/layout/default"/>
    <dgm:cxn modelId="{2D194768-D21C-B84E-A9E2-E028A8DA2BC8}" type="presOf" srcId="{A8044EFB-DBE2-F84F-A403-B73687BFEC5E}" destId="{293E2768-4F75-7746-B6DC-A134AB22D478}" srcOrd="0" destOrd="0" presId="urn:microsoft.com/office/officeart/2005/8/layout/default"/>
    <dgm:cxn modelId="{F6825FC0-6E33-1249-AAFE-1BCCFE9A1780}" srcId="{0E47F7E0-EB5A-A143-90E3-7EA34C8BD69F}" destId="{EE0DBA2E-3473-7D43-BE4A-6C136D5DEFC9}" srcOrd="1" destOrd="0" parTransId="{617D4921-6AFD-494F-A4C0-6C02D204F56F}" sibTransId="{E1F43FA4-2175-B340-965C-9C806D5DB964}"/>
    <dgm:cxn modelId="{51343E56-B7EC-8642-8CE6-6F42743DA99D}" srcId="{0E47F7E0-EB5A-A143-90E3-7EA34C8BD69F}" destId="{A8044EFB-DBE2-F84F-A403-B73687BFEC5E}" srcOrd="0" destOrd="0" parTransId="{3BEF932A-5284-814A-8E37-D3408C87B225}" sibTransId="{80A87055-446D-E348-BA19-E64FAA9D403A}"/>
    <dgm:cxn modelId="{4B403052-9B35-7641-BD42-E34F109E952D}" type="presParOf" srcId="{8FDAC54D-2BF3-4D46-8F12-C5E3DD94ED51}" destId="{293E2768-4F75-7746-B6DC-A134AB22D478}" srcOrd="0" destOrd="0" presId="urn:microsoft.com/office/officeart/2005/8/layout/default"/>
    <dgm:cxn modelId="{57C03C35-AEFB-B343-BB23-A47A04B2858A}" type="presParOf" srcId="{8FDAC54D-2BF3-4D46-8F12-C5E3DD94ED51}" destId="{D6467D27-75E8-5545-ABDB-EF30FEC0FB3A}" srcOrd="1" destOrd="0" presId="urn:microsoft.com/office/officeart/2005/8/layout/default"/>
    <dgm:cxn modelId="{CE32EBB6-1ADB-4645-A1E7-D8ECB5CB9F7C}" type="presParOf" srcId="{8FDAC54D-2BF3-4D46-8F12-C5E3DD94ED51}" destId="{62B06E58-BCE7-2348-8E25-AF0EE3CE4EC7}" srcOrd="2" destOrd="0" presId="urn:microsoft.com/office/officeart/2005/8/layout/default"/>
    <dgm:cxn modelId="{351AB3CD-39B0-B346-BDD7-26185817C524}" type="presParOf" srcId="{8FDAC54D-2BF3-4D46-8F12-C5E3DD94ED51}" destId="{5FBDA4C7-8BE1-3444-9FAE-5C0B7A448C46}" srcOrd="3" destOrd="0" presId="urn:microsoft.com/office/officeart/2005/8/layout/default"/>
    <dgm:cxn modelId="{F28D7DA1-5FF6-CD42-8F4E-30810AF01485}" type="presParOf" srcId="{8FDAC54D-2BF3-4D46-8F12-C5E3DD94ED51}" destId="{104C2749-692B-ED4C-8874-22D2AFFCC343}" srcOrd="4" destOrd="0" presId="urn:microsoft.com/office/officeart/2005/8/layout/default"/>
    <dgm:cxn modelId="{8603101A-0085-AC4E-9064-65A3467C135B}" type="presParOf" srcId="{8FDAC54D-2BF3-4D46-8F12-C5E3DD94ED51}" destId="{FDD056DA-6733-6742-8460-5F4D2BB31781}" srcOrd="5" destOrd="0" presId="urn:microsoft.com/office/officeart/2005/8/layout/default"/>
    <dgm:cxn modelId="{070DBCC6-8E01-464F-AC9D-CEFC3101E522}" type="presParOf" srcId="{8FDAC54D-2BF3-4D46-8F12-C5E3DD94ED51}" destId="{05B3F51E-C6C5-BD43-8724-4721215F78A3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514B80A-0A85-1C40-853D-E84284909032}" type="doc">
      <dgm:prSet loTypeId="urn:microsoft.com/office/officeart/2005/8/layout/vList2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D487DE0-5CA6-334D-994F-5CB70DECCB92}">
      <dgm:prSet/>
      <dgm:spPr>
        <a:solidFill>
          <a:srgbClr val="43546A"/>
        </a:solidFill>
      </dgm:spPr>
      <dgm:t>
        <a:bodyPr/>
        <a:lstStyle/>
        <a:p>
          <a:pPr algn="ctr" rtl="0"/>
          <a:r>
            <a:rPr lang="en-US" dirty="0" smtClean="0"/>
            <a:t>DISADVANTAGES</a:t>
          </a:r>
          <a:endParaRPr lang="en-US" dirty="0"/>
        </a:p>
      </dgm:t>
    </dgm:pt>
    <dgm:pt modelId="{B729C902-DEF9-0F4D-A040-B7391EEF81D7}" type="parTrans" cxnId="{9ED55E2F-4758-784D-A36E-E6246E8F4C20}">
      <dgm:prSet/>
      <dgm:spPr/>
      <dgm:t>
        <a:bodyPr/>
        <a:lstStyle/>
        <a:p>
          <a:endParaRPr lang="en-US"/>
        </a:p>
      </dgm:t>
    </dgm:pt>
    <dgm:pt modelId="{81E43E9A-BBAB-A544-B4C8-C4C5AF27B5B5}" type="sibTrans" cxnId="{9ED55E2F-4758-784D-A36E-E6246E8F4C20}">
      <dgm:prSet/>
      <dgm:spPr/>
      <dgm:t>
        <a:bodyPr/>
        <a:lstStyle/>
        <a:p>
          <a:endParaRPr lang="en-US"/>
        </a:p>
      </dgm:t>
    </dgm:pt>
    <dgm:pt modelId="{B99740D0-10B5-0342-8635-71BE40F3D5E1}" type="pres">
      <dgm:prSet presAssocID="{C514B80A-0A85-1C40-853D-E8428490903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8C4388C-6A70-DC42-88AA-D853E7DB5D9C}" type="pres">
      <dgm:prSet presAssocID="{0D487DE0-5CA6-334D-994F-5CB70DECCB92}" presName="parentText" presStyleLbl="node1" presStyleIdx="0" presStyleCnt="1" custLinFactNeighborY="5018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E23EB94-1432-8147-A4CE-B0563C6B765E}" type="presOf" srcId="{0D487DE0-5CA6-334D-994F-5CB70DECCB92}" destId="{88C4388C-6A70-DC42-88AA-D853E7DB5D9C}" srcOrd="0" destOrd="0" presId="urn:microsoft.com/office/officeart/2005/8/layout/vList2"/>
    <dgm:cxn modelId="{FEE59F44-719C-4044-B0BC-B011F41C1B09}" type="presOf" srcId="{C514B80A-0A85-1C40-853D-E84284909032}" destId="{B99740D0-10B5-0342-8635-71BE40F3D5E1}" srcOrd="0" destOrd="0" presId="urn:microsoft.com/office/officeart/2005/8/layout/vList2"/>
    <dgm:cxn modelId="{9ED55E2F-4758-784D-A36E-E6246E8F4C20}" srcId="{C514B80A-0A85-1C40-853D-E84284909032}" destId="{0D487DE0-5CA6-334D-994F-5CB70DECCB92}" srcOrd="0" destOrd="0" parTransId="{B729C902-DEF9-0F4D-A040-B7391EEF81D7}" sibTransId="{81E43E9A-BBAB-A544-B4C8-C4C5AF27B5B5}"/>
    <dgm:cxn modelId="{B392C40E-2E09-8D48-AA88-C2CF7D5F1FB7}" type="presParOf" srcId="{B99740D0-10B5-0342-8635-71BE40F3D5E1}" destId="{88C4388C-6A70-DC42-88AA-D853E7DB5D9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EF02CCB-5128-424F-9C19-D89A480F6FC9}">
      <dsp:nvSpPr>
        <dsp:cNvPr id="0" name=""/>
        <dsp:cNvSpPr/>
      </dsp:nvSpPr>
      <dsp:spPr>
        <a:xfrm>
          <a:off x="142027" y="0"/>
          <a:ext cx="4133660" cy="2386865"/>
        </a:xfrm>
        <a:prstGeom prst="round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38100" cmpd="sng">
          <a:solidFill>
            <a:schemeClr val="tx1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784AE01-8B6B-184B-9ECC-9F2E8B7923DA}">
      <dsp:nvSpPr>
        <dsp:cNvPr id="0" name=""/>
        <dsp:cNvSpPr/>
      </dsp:nvSpPr>
      <dsp:spPr>
        <a:xfrm>
          <a:off x="1867134" y="1421451"/>
          <a:ext cx="660693" cy="2451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0" numCol="1" spcCol="1270" anchor="t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 </a:t>
          </a:r>
          <a:endParaRPr lang="en-US" sz="1100" kern="1200" dirty="0"/>
        </a:p>
      </dsp:txBody>
      <dsp:txXfrm>
        <a:off x="1867134" y="1421451"/>
        <a:ext cx="660693" cy="245117"/>
      </dsp:txXfrm>
    </dsp:sp>
    <dsp:sp modelId="{43AD69F1-D501-D241-8BA6-6D78C243DB97}">
      <dsp:nvSpPr>
        <dsp:cNvPr id="0" name=""/>
        <dsp:cNvSpPr/>
      </dsp:nvSpPr>
      <dsp:spPr>
        <a:xfrm>
          <a:off x="4352448" y="0"/>
          <a:ext cx="4133660" cy="2386865"/>
        </a:xfrm>
        <a:prstGeom prst="round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38100" cmpd="sng">
          <a:solidFill>
            <a:schemeClr val="tx1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E4582FF-F30F-1747-877A-E64284A0D780}">
      <dsp:nvSpPr>
        <dsp:cNvPr id="0" name=""/>
        <dsp:cNvSpPr/>
      </dsp:nvSpPr>
      <dsp:spPr>
        <a:xfrm>
          <a:off x="6066891" y="1421451"/>
          <a:ext cx="660693" cy="2451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0" numCol="1" spcCol="1270" anchor="t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 </a:t>
          </a:r>
          <a:endParaRPr lang="en-US" sz="1100" kern="1200" dirty="0"/>
        </a:p>
      </dsp:txBody>
      <dsp:txXfrm>
        <a:off x="6066891" y="1421451"/>
        <a:ext cx="660693" cy="245117"/>
      </dsp:txXfrm>
    </dsp:sp>
    <dsp:sp modelId="{A17D7F43-3BA9-7D43-8C4A-E1E017B5EB31}">
      <dsp:nvSpPr>
        <dsp:cNvPr id="0" name=""/>
        <dsp:cNvSpPr/>
      </dsp:nvSpPr>
      <dsp:spPr>
        <a:xfrm>
          <a:off x="125807" y="2453754"/>
          <a:ext cx="4133660" cy="2442096"/>
        </a:xfrm>
        <a:prstGeom prst="roundRect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38100" cmpd="sng">
          <a:solidFill>
            <a:schemeClr val="tx1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48E02B1-3E25-0445-A352-1656A27DB548}">
      <dsp:nvSpPr>
        <dsp:cNvPr id="0" name=""/>
        <dsp:cNvSpPr/>
      </dsp:nvSpPr>
      <dsp:spPr>
        <a:xfrm>
          <a:off x="1867134" y="3902001"/>
          <a:ext cx="660693" cy="2451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0" numCol="1" spcCol="1270" anchor="t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 </a:t>
          </a:r>
          <a:endParaRPr lang="en-US" sz="1100" kern="1200" dirty="0"/>
        </a:p>
      </dsp:txBody>
      <dsp:txXfrm>
        <a:off x="1867134" y="3902001"/>
        <a:ext cx="660693" cy="245117"/>
      </dsp:txXfrm>
    </dsp:sp>
    <dsp:sp modelId="{392F9320-793B-3242-8C02-C563460D7155}">
      <dsp:nvSpPr>
        <dsp:cNvPr id="0" name=""/>
        <dsp:cNvSpPr/>
      </dsp:nvSpPr>
      <dsp:spPr>
        <a:xfrm>
          <a:off x="4336228" y="2453754"/>
          <a:ext cx="4133660" cy="2442096"/>
        </a:xfrm>
        <a:prstGeom prst="roundRect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38100" cmpd="sng">
          <a:solidFill>
            <a:schemeClr val="tx1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8A77E64-F1E1-3749-88F0-577AE46347A1}">
      <dsp:nvSpPr>
        <dsp:cNvPr id="0" name=""/>
        <dsp:cNvSpPr/>
      </dsp:nvSpPr>
      <dsp:spPr>
        <a:xfrm>
          <a:off x="6066891" y="3902001"/>
          <a:ext cx="660693" cy="2451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0" numCol="1" spcCol="1270" anchor="t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 </a:t>
          </a:r>
          <a:endParaRPr lang="en-US" sz="1100" kern="1200" dirty="0"/>
        </a:p>
      </dsp:txBody>
      <dsp:txXfrm>
        <a:off x="6066891" y="3902001"/>
        <a:ext cx="660693" cy="24511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278BB3-3A37-D14F-9BCC-C4B53069AD1B}">
      <dsp:nvSpPr>
        <dsp:cNvPr id="0" name=""/>
        <dsp:cNvSpPr/>
      </dsp:nvSpPr>
      <dsp:spPr>
        <a:xfrm>
          <a:off x="1213963" y="438035"/>
          <a:ext cx="3938411" cy="2679938"/>
        </a:xfrm>
        <a:prstGeom prst="pieWedge">
          <a:avLst/>
        </a:prstGeom>
        <a:noFill/>
        <a:ln w="57150" cmpd="sng">
          <a:solidFill>
            <a:schemeClr val="tx2">
              <a:lumMod val="75000"/>
            </a:schemeClr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200" kern="1200" dirty="0"/>
        </a:p>
      </dsp:txBody>
      <dsp:txXfrm>
        <a:off x="2367497" y="1222971"/>
        <a:ext cx="2784877" cy="1895002"/>
      </dsp:txXfrm>
    </dsp:sp>
    <dsp:sp modelId="{AA8BD8A5-879A-F145-A161-B346CB456C69}">
      <dsp:nvSpPr>
        <dsp:cNvPr id="0" name=""/>
        <dsp:cNvSpPr/>
      </dsp:nvSpPr>
      <dsp:spPr>
        <a:xfrm rot="5400000">
          <a:off x="5950231" y="-242414"/>
          <a:ext cx="2679938" cy="4038480"/>
        </a:xfrm>
        <a:prstGeom prst="pieWedge">
          <a:avLst/>
        </a:prstGeom>
        <a:noFill/>
        <a:ln w="57150" cmpd="sng">
          <a:solidFill>
            <a:schemeClr val="tx2">
              <a:lumMod val="75000"/>
            </a:schemeClr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5168" tIns="455168" rIns="455168" bIns="455168" numCol="1" spcCol="1270" anchor="ctr" anchorCtr="0">
          <a:noAutofit/>
        </a:bodyPr>
        <a:lstStyle/>
        <a:p>
          <a:pPr lvl="0" algn="ctr" defTabSz="2844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400" kern="1200" dirty="0"/>
        </a:p>
      </dsp:txBody>
      <dsp:txXfrm rot="-5400000">
        <a:off x="5270961" y="1221793"/>
        <a:ext cx="2855637" cy="1895002"/>
      </dsp:txXfrm>
    </dsp:sp>
    <dsp:sp modelId="{D60018D5-58BE-554B-AFE8-E3BF41E5A1B6}">
      <dsp:nvSpPr>
        <dsp:cNvPr id="0" name=""/>
        <dsp:cNvSpPr/>
      </dsp:nvSpPr>
      <dsp:spPr>
        <a:xfrm rot="10800000">
          <a:off x="5270960" y="3240579"/>
          <a:ext cx="4038480" cy="2679938"/>
        </a:xfrm>
        <a:prstGeom prst="pieWedge">
          <a:avLst/>
        </a:prstGeom>
        <a:noFill/>
        <a:ln w="57150" cmpd="sng">
          <a:solidFill>
            <a:schemeClr val="tx2">
              <a:lumMod val="75000"/>
            </a:schemeClr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5168" tIns="455168" rIns="455168" bIns="455168" numCol="1" spcCol="1270" anchor="ctr" anchorCtr="0">
          <a:noAutofit/>
        </a:bodyPr>
        <a:lstStyle/>
        <a:p>
          <a:pPr lvl="0" algn="ctr" defTabSz="2844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400" kern="1200" dirty="0"/>
        </a:p>
      </dsp:txBody>
      <dsp:txXfrm rot="10800000">
        <a:off x="5270960" y="3240579"/>
        <a:ext cx="2855637" cy="1895002"/>
      </dsp:txXfrm>
    </dsp:sp>
    <dsp:sp modelId="{9927E051-309B-214C-98F9-E624C07F7C34}">
      <dsp:nvSpPr>
        <dsp:cNvPr id="0" name=""/>
        <dsp:cNvSpPr/>
      </dsp:nvSpPr>
      <dsp:spPr>
        <a:xfrm rot="16200000">
          <a:off x="1843199" y="2612522"/>
          <a:ext cx="2679938" cy="3938411"/>
        </a:xfrm>
        <a:prstGeom prst="pieWedge">
          <a:avLst/>
        </a:prstGeom>
        <a:noFill/>
        <a:ln w="57150" cmpd="sng">
          <a:solidFill>
            <a:schemeClr val="tx2">
              <a:lumMod val="75000"/>
            </a:schemeClr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5168" tIns="455168" rIns="455168" bIns="455168" numCol="1" spcCol="1270" anchor="ctr" anchorCtr="0">
          <a:noAutofit/>
        </a:bodyPr>
        <a:lstStyle/>
        <a:p>
          <a:pPr lvl="0" algn="ctr" defTabSz="2844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400" kern="1200" dirty="0"/>
        </a:p>
      </dsp:txBody>
      <dsp:txXfrm rot="5400000">
        <a:off x="2367497" y="3241758"/>
        <a:ext cx="2784877" cy="1895002"/>
      </dsp:txXfrm>
    </dsp:sp>
    <dsp:sp modelId="{08A111A1-DD1B-A74E-9977-E1ACA0899799}">
      <dsp:nvSpPr>
        <dsp:cNvPr id="0" name=""/>
        <dsp:cNvSpPr/>
      </dsp:nvSpPr>
      <dsp:spPr>
        <a:xfrm>
          <a:off x="4798949" y="2537586"/>
          <a:ext cx="925290" cy="804600"/>
        </a:xfrm>
        <a:prstGeom prst="circularArrow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03DD8867-DC05-A549-8C8B-CADA2F316C93}">
      <dsp:nvSpPr>
        <dsp:cNvPr id="0" name=""/>
        <dsp:cNvSpPr/>
      </dsp:nvSpPr>
      <dsp:spPr>
        <a:xfrm rot="10800000">
          <a:off x="4798949" y="2847048"/>
          <a:ext cx="925290" cy="804600"/>
        </a:xfrm>
        <a:prstGeom prst="circularArrow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5A9696-C7B6-B044-98B5-CD578E48FE22}">
      <dsp:nvSpPr>
        <dsp:cNvPr id="0" name=""/>
        <dsp:cNvSpPr/>
      </dsp:nvSpPr>
      <dsp:spPr>
        <a:xfrm>
          <a:off x="0" y="0"/>
          <a:ext cx="7986902" cy="150480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t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dirty="0" smtClean="0">
              <a:latin typeface="+mj-lt"/>
              <a:cs typeface="Arial" panose="020B0604020202020204" pitchFamily="34" charset="0"/>
            </a:rPr>
            <a:t>Clean-up</a:t>
          </a:r>
          <a:endParaRPr lang="en-US" sz="2300" b="1" kern="1200" dirty="0">
            <a:latin typeface="+mj-lt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>
              <a:latin typeface="+mj-lt"/>
              <a:cs typeface="Arial" panose="020B0604020202020204" pitchFamily="34" charset="0"/>
            </a:rPr>
            <a:t>Millennials hate cleaning up – We want it to be easy and simple</a:t>
          </a:r>
          <a:endParaRPr lang="en-US" sz="1600" kern="1200" dirty="0">
            <a:latin typeface="+mj-lt"/>
            <a:cs typeface="Arial" panose="020B0604020202020204" pitchFamily="34" charset="0"/>
          </a:endParaRPr>
        </a:p>
      </dsp:txBody>
      <dsp:txXfrm>
        <a:off x="1851836" y="0"/>
        <a:ext cx="6135065" cy="1504802"/>
      </dsp:txXfrm>
    </dsp:sp>
    <dsp:sp modelId="{85F96C7A-D247-A24A-83DE-A0E7B2AEA9D2}">
      <dsp:nvSpPr>
        <dsp:cNvPr id="0" name=""/>
        <dsp:cNvSpPr/>
      </dsp:nvSpPr>
      <dsp:spPr>
        <a:xfrm>
          <a:off x="451141" y="142439"/>
          <a:ext cx="1204009" cy="121992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A06C09CF-DAD1-1646-A6A0-DD6AF37901E4}">
      <dsp:nvSpPr>
        <dsp:cNvPr id="0" name=""/>
        <dsp:cNvSpPr/>
      </dsp:nvSpPr>
      <dsp:spPr>
        <a:xfrm>
          <a:off x="0" y="1759258"/>
          <a:ext cx="7986902" cy="150480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t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dirty="0" smtClean="0">
              <a:latin typeface="+mj-lt"/>
              <a:cs typeface="Arial" panose="020B0604020202020204" pitchFamily="34" charset="0"/>
            </a:rPr>
            <a:t>Immediacy</a:t>
          </a:r>
          <a:endParaRPr lang="en-US" sz="2300" b="1" kern="1200" dirty="0">
            <a:latin typeface="+mj-lt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>
              <a:latin typeface="+mj-lt"/>
              <a:cs typeface="Arial" panose="020B0604020202020204" pitchFamily="34" charset="0"/>
            </a:rPr>
            <a:t>Quick access to information – Nothing is more than a google search away</a:t>
          </a:r>
          <a:endParaRPr lang="en-US" sz="1600" kern="1200" dirty="0">
            <a:latin typeface="+mj-lt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>
              <a:latin typeface="+mj-lt"/>
              <a:cs typeface="Arial" panose="020B0604020202020204" pitchFamily="34" charset="0"/>
            </a:rPr>
            <a:t>Online sources expedite the process of finding a recipe and starting to cook</a:t>
          </a:r>
          <a:endParaRPr lang="en-US" sz="1600" kern="1200" dirty="0">
            <a:latin typeface="+mj-lt"/>
            <a:cs typeface="Arial" panose="020B0604020202020204" pitchFamily="34" charset="0"/>
          </a:endParaRPr>
        </a:p>
      </dsp:txBody>
      <dsp:txXfrm>
        <a:off x="1851836" y="1759258"/>
        <a:ext cx="6135065" cy="1504802"/>
      </dsp:txXfrm>
    </dsp:sp>
    <dsp:sp modelId="{777648AA-3098-5E45-90AD-06C8229E85AD}">
      <dsp:nvSpPr>
        <dsp:cNvPr id="0" name=""/>
        <dsp:cNvSpPr/>
      </dsp:nvSpPr>
      <dsp:spPr>
        <a:xfrm>
          <a:off x="366017" y="1826847"/>
          <a:ext cx="1374258" cy="1311080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50C45F4C-7D6F-674B-A739-5D0C216D4C0D}">
      <dsp:nvSpPr>
        <dsp:cNvPr id="0" name=""/>
        <dsp:cNvSpPr/>
      </dsp:nvSpPr>
      <dsp:spPr>
        <a:xfrm>
          <a:off x="0" y="3518517"/>
          <a:ext cx="7986902" cy="150480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t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dirty="0" smtClean="0">
              <a:latin typeface="+mj-lt"/>
              <a:cs typeface="Arial" panose="020B0604020202020204" pitchFamily="34" charset="0"/>
            </a:rPr>
            <a:t>Lifestyle &amp; Technology</a:t>
          </a:r>
          <a:endParaRPr lang="en-US" sz="2300" b="1" kern="1200" dirty="0">
            <a:latin typeface="+mj-lt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>
              <a:latin typeface="+mj-lt"/>
              <a:cs typeface="Arial" panose="020B0604020202020204" pitchFamily="34" charset="0"/>
            </a:rPr>
            <a:t>With smart devices, gadgets become central to the millennial lifestyle</a:t>
          </a:r>
          <a:endParaRPr lang="en-US" sz="1600" kern="1200" dirty="0">
            <a:latin typeface="+mj-lt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>
              <a:latin typeface="+mj-lt"/>
              <a:cs typeface="Arial" panose="020B0604020202020204" pitchFamily="34" charset="0"/>
            </a:rPr>
            <a:t>Food inspiration comes from food blogs, online recipe books, or YouTube</a:t>
          </a:r>
          <a:endParaRPr lang="en-US" sz="1600" kern="1200" dirty="0">
            <a:latin typeface="+mj-lt"/>
            <a:cs typeface="Arial" panose="020B0604020202020204" pitchFamily="34" charset="0"/>
          </a:endParaRPr>
        </a:p>
      </dsp:txBody>
      <dsp:txXfrm>
        <a:off x="1851836" y="3518517"/>
        <a:ext cx="6135065" cy="1504802"/>
      </dsp:txXfrm>
    </dsp:sp>
    <dsp:sp modelId="{7B5494D8-EA72-014E-9894-AF07FAAAEA32}">
      <dsp:nvSpPr>
        <dsp:cNvPr id="0" name=""/>
        <dsp:cNvSpPr/>
      </dsp:nvSpPr>
      <dsp:spPr>
        <a:xfrm>
          <a:off x="417724" y="3590197"/>
          <a:ext cx="1270843" cy="1361442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5A9696-C7B6-B044-98B5-CD578E48FE22}">
      <dsp:nvSpPr>
        <dsp:cNvPr id="0" name=""/>
        <dsp:cNvSpPr/>
      </dsp:nvSpPr>
      <dsp:spPr>
        <a:xfrm>
          <a:off x="0" y="0"/>
          <a:ext cx="8287664" cy="144159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t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dirty="0" smtClean="0">
              <a:latin typeface="+mj-lt"/>
              <a:cs typeface="Arial" panose="020B0604020202020204" pitchFamily="34" charset="0"/>
            </a:rPr>
            <a:t>Spill-Safe</a:t>
          </a:r>
          <a:endParaRPr lang="en-US" sz="2300" b="1" kern="1200" dirty="0">
            <a:latin typeface="+mj-lt"/>
            <a:cs typeface="Arial" panose="020B060402020202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>
              <a:latin typeface="+mj-lt"/>
              <a:cs typeface="Arial" panose="020B0604020202020204" pitchFamily="34" charset="0"/>
            </a:rPr>
            <a:t>Air tight design guards tablet/smartphone from damage</a:t>
          </a:r>
          <a:endParaRPr lang="en-US" sz="1800" kern="1200" dirty="0">
            <a:latin typeface="+mj-lt"/>
            <a:cs typeface="Arial" panose="020B0604020202020204" pitchFamily="34" charset="0"/>
          </a:endParaRPr>
        </a:p>
      </dsp:txBody>
      <dsp:txXfrm>
        <a:off x="1901300" y="0"/>
        <a:ext cx="6386363" cy="1441595"/>
      </dsp:txXfrm>
    </dsp:sp>
    <dsp:sp modelId="{85F96C7A-D247-A24A-83DE-A0E7B2AEA9D2}">
      <dsp:nvSpPr>
        <dsp:cNvPr id="0" name=""/>
        <dsp:cNvSpPr/>
      </dsp:nvSpPr>
      <dsp:spPr>
        <a:xfrm>
          <a:off x="601521" y="183825"/>
          <a:ext cx="942025" cy="1073944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A06C09CF-DAD1-1646-A6A0-DD6AF37901E4}">
      <dsp:nvSpPr>
        <dsp:cNvPr id="0" name=""/>
        <dsp:cNvSpPr/>
      </dsp:nvSpPr>
      <dsp:spPr>
        <a:xfrm>
          <a:off x="0" y="1685363"/>
          <a:ext cx="8287664" cy="144159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t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dirty="0" smtClean="0">
              <a:latin typeface="+mj-lt"/>
              <a:cs typeface="Arial" panose="020B0604020202020204" pitchFamily="34" charset="0"/>
            </a:rPr>
            <a:t>Multi-Purpose Design </a:t>
          </a:r>
          <a:endParaRPr lang="en-US" sz="2300" b="1" kern="1200" dirty="0">
            <a:latin typeface="+mj-lt"/>
            <a:cs typeface="Arial" panose="020B060402020202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>
              <a:latin typeface="+mj-lt"/>
              <a:cs typeface="Arial" panose="020B0604020202020204" pitchFamily="34" charset="0"/>
            </a:rPr>
            <a:t>Use the cutting board to prepare food </a:t>
          </a:r>
          <a:endParaRPr lang="en-US" sz="1800" kern="1200" dirty="0">
            <a:latin typeface="+mj-lt"/>
            <a:cs typeface="Arial" panose="020B060402020202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>
              <a:latin typeface="+mj-lt"/>
              <a:cs typeface="Arial" panose="020B0604020202020204" pitchFamily="34" charset="0"/>
            </a:rPr>
            <a:t>Once food is prepared, case can be used as a plate to hold food</a:t>
          </a:r>
          <a:endParaRPr lang="en-US" sz="1800" kern="1200" dirty="0">
            <a:latin typeface="+mj-lt"/>
            <a:cs typeface="Arial" panose="020B0604020202020204" pitchFamily="34" charset="0"/>
          </a:endParaRPr>
        </a:p>
      </dsp:txBody>
      <dsp:txXfrm>
        <a:off x="1901300" y="1685363"/>
        <a:ext cx="6386363" cy="1441595"/>
      </dsp:txXfrm>
    </dsp:sp>
    <dsp:sp modelId="{777648AA-3098-5E45-90AD-06C8229E85AD}">
      <dsp:nvSpPr>
        <dsp:cNvPr id="0" name=""/>
        <dsp:cNvSpPr/>
      </dsp:nvSpPr>
      <dsp:spPr>
        <a:xfrm>
          <a:off x="641260" y="1831716"/>
          <a:ext cx="862546" cy="1092802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50C45F4C-7D6F-674B-A739-5D0C216D4C0D}">
      <dsp:nvSpPr>
        <dsp:cNvPr id="0" name=""/>
        <dsp:cNvSpPr/>
      </dsp:nvSpPr>
      <dsp:spPr>
        <a:xfrm>
          <a:off x="3118" y="3370726"/>
          <a:ext cx="8287664" cy="144159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t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dirty="0" smtClean="0">
              <a:latin typeface="+mj-lt"/>
              <a:cs typeface="Arial" panose="020B0604020202020204" pitchFamily="34" charset="0"/>
            </a:rPr>
            <a:t>Dishwasher-Safe </a:t>
          </a:r>
          <a:endParaRPr lang="en-US" sz="2300" b="1" kern="1200" dirty="0">
            <a:latin typeface="+mj-lt"/>
            <a:cs typeface="Arial" panose="020B060402020202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>
              <a:latin typeface="+mj-lt"/>
              <a:cs typeface="Arial" panose="020B0604020202020204" pitchFamily="34" charset="0"/>
            </a:rPr>
            <a:t>Remove tablet and throw in the dishwasher for a quick and easy clean up</a:t>
          </a:r>
          <a:endParaRPr lang="en-US" sz="1800" kern="1200" dirty="0">
            <a:latin typeface="+mj-lt"/>
            <a:cs typeface="Arial" panose="020B0604020202020204" pitchFamily="34" charset="0"/>
          </a:endParaRPr>
        </a:p>
      </dsp:txBody>
      <dsp:txXfrm>
        <a:off x="1904419" y="3370726"/>
        <a:ext cx="6386363" cy="1441595"/>
      </dsp:txXfrm>
    </dsp:sp>
    <dsp:sp modelId="{7B5494D8-EA72-014E-9894-AF07FAAAEA32}">
      <dsp:nvSpPr>
        <dsp:cNvPr id="0" name=""/>
        <dsp:cNvSpPr/>
      </dsp:nvSpPr>
      <dsp:spPr>
        <a:xfrm>
          <a:off x="-3118" y="3523613"/>
          <a:ext cx="2157544" cy="1135822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D11D2C-A165-4949-85BD-831EF1A2FB42}">
      <dsp:nvSpPr>
        <dsp:cNvPr id="0" name=""/>
        <dsp:cNvSpPr/>
      </dsp:nvSpPr>
      <dsp:spPr>
        <a:xfrm rot="10800000">
          <a:off x="0" y="0"/>
          <a:ext cx="3972560" cy="1042670"/>
        </a:xfrm>
        <a:prstGeom prst="trapezoid">
          <a:avLst>
            <a:gd name="adj" fmla="val 47625"/>
          </a:avLst>
        </a:prstGeom>
        <a:solidFill>
          <a:schemeClr val="tx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>
              <a:solidFill>
                <a:schemeClr val="bg1"/>
              </a:solidFill>
            </a:rPr>
            <a:t>Topics of Interest</a:t>
          </a:r>
          <a:endParaRPr lang="en-US" sz="1200" kern="1200" dirty="0">
            <a:solidFill>
              <a:schemeClr val="bg1"/>
            </a:solidFill>
          </a:endParaRPr>
        </a:p>
      </dsp:txBody>
      <dsp:txXfrm rot="-10800000">
        <a:off x="695197" y="0"/>
        <a:ext cx="2582164" cy="1042670"/>
      </dsp:txXfrm>
    </dsp:sp>
    <dsp:sp modelId="{EC72BEBA-A20C-4A9C-8A89-100760F32190}">
      <dsp:nvSpPr>
        <dsp:cNvPr id="0" name=""/>
        <dsp:cNvSpPr/>
      </dsp:nvSpPr>
      <dsp:spPr>
        <a:xfrm rot="10800000">
          <a:off x="496570" y="1042669"/>
          <a:ext cx="2979420" cy="1042670"/>
        </a:xfrm>
        <a:prstGeom prst="trapezoid">
          <a:avLst>
            <a:gd name="adj" fmla="val 47625"/>
          </a:avLst>
        </a:prstGeom>
        <a:solidFill>
          <a:schemeClr val="bg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Levels of Innovation</a:t>
          </a:r>
          <a:endParaRPr lang="en-US" sz="1200" kern="1200" dirty="0"/>
        </a:p>
      </dsp:txBody>
      <dsp:txXfrm rot="-10800000">
        <a:off x="1017968" y="1042669"/>
        <a:ext cx="1936623" cy="1042670"/>
      </dsp:txXfrm>
    </dsp:sp>
    <dsp:sp modelId="{D4122670-ED33-4A0F-8B42-2E9813CE5AFE}">
      <dsp:nvSpPr>
        <dsp:cNvPr id="0" name=""/>
        <dsp:cNvSpPr/>
      </dsp:nvSpPr>
      <dsp:spPr>
        <a:xfrm rot="10800000">
          <a:off x="993140" y="2085340"/>
          <a:ext cx="1986280" cy="1042670"/>
        </a:xfrm>
        <a:prstGeom prst="trapezoid">
          <a:avLst>
            <a:gd name="adj" fmla="val 47625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Democratic voting process </a:t>
          </a:r>
          <a:endParaRPr lang="en-US" sz="1200" kern="1200" dirty="0"/>
        </a:p>
      </dsp:txBody>
      <dsp:txXfrm rot="-10800000">
        <a:off x="1340739" y="2085340"/>
        <a:ext cx="1291082" cy="1042670"/>
      </dsp:txXfrm>
    </dsp:sp>
    <dsp:sp modelId="{8FA5E041-8B73-4715-9835-D02CF762DD0C}">
      <dsp:nvSpPr>
        <dsp:cNvPr id="0" name=""/>
        <dsp:cNvSpPr/>
      </dsp:nvSpPr>
      <dsp:spPr>
        <a:xfrm rot="10800000">
          <a:off x="1489710" y="3128009"/>
          <a:ext cx="993140" cy="1042670"/>
        </a:xfrm>
        <a:prstGeom prst="trapezoid">
          <a:avLst>
            <a:gd name="adj" fmla="val 5000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Research</a:t>
          </a:r>
          <a:endParaRPr lang="en-US" sz="1000" kern="1200" dirty="0"/>
        </a:p>
      </dsp:txBody>
      <dsp:txXfrm rot="-10800000">
        <a:off x="1489710" y="3128009"/>
        <a:ext cx="993140" cy="104267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3E2768-4F75-7746-B6DC-A134AB22D478}">
      <dsp:nvSpPr>
        <dsp:cNvPr id="0" name=""/>
        <dsp:cNvSpPr/>
      </dsp:nvSpPr>
      <dsp:spPr>
        <a:xfrm>
          <a:off x="492" y="856947"/>
          <a:ext cx="1922673" cy="1153604"/>
        </a:xfrm>
        <a:prstGeom prst="rect">
          <a:avLst/>
        </a:prstGeom>
        <a:solidFill>
          <a:srgbClr val="43546A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Only exists for </a:t>
          </a:r>
          <a:r>
            <a:rPr lang="en-US" sz="1900" kern="1200" dirty="0" err="1" smtClean="0"/>
            <a:t>iPad</a:t>
          </a:r>
          <a:r>
            <a:rPr lang="en-US" sz="1900" kern="1200" dirty="0" smtClean="0"/>
            <a:t> and </a:t>
          </a:r>
          <a:r>
            <a:rPr lang="en-US" sz="1900" kern="1200" dirty="0" err="1" smtClean="0"/>
            <a:t>iPad</a:t>
          </a:r>
          <a:r>
            <a:rPr lang="en-US" sz="1900" kern="1200" dirty="0" smtClean="0"/>
            <a:t> 2</a:t>
          </a:r>
          <a:endParaRPr lang="en-US" sz="1900" kern="1200" dirty="0"/>
        </a:p>
      </dsp:txBody>
      <dsp:txXfrm>
        <a:off x="492" y="856947"/>
        <a:ext cx="1922673" cy="1153604"/>
      </dsp:txXfrm>
    </dsp:sp>
    <dsp:sp modelId="{62B06E58-BCE7-2348-8E25-AF0EE3CE4EC7}">
      <dsp:nvSpPr>
        <dsp:cNvPr id="0" name=""/>
        <dsp:cNvSpPr/>
      </dsp:nvSpPr>
      <dsp:spPr>
        <a:xfrm>
          <a:off x="2115433" y="856947"/>
          <a:ext cx="1922673" cy="1153604"/>
        </a:xfrm>
        <a:prstGeom prst="rect">
          <a:avLst/>
        </a:prstGeom>
        <a:solidFill>
          <a:srgbClr val="5B9BD5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Produces a lot of waste</a:t>
          </a:r>
          <a:endParaRPr lang="en-US" sz="1900" kern="1200" dirty="0"/>
        </a:p>
      </dsp:txBody>
      <dsp:txXfrm>
        <a:off x="2115433" y="856947"/>
        <a:ext cx="1922673" cy="1153604"/>
      </dsp:txXfrm>
    </dsp:sp>
    <dsp:sp modelId="{104C2749-692B-ED4C-8874-22D2AFFCC343}">
      <dsp:nvSpPr>
        <dsp:cNvPr id="0" name=""/>
        <dsp:cNvSpPr/>
      </dsp:nvSpPr>
      <dsp:spPr>
        <a:xfrm>
          <a:off x="492" y="2202819"/>
          <a:ext cx="1922673" cy="1153604"/>
        </a:xfrm>
        <a:prstGeom prst="rect">
          <a:avLst/>
        </a:prstGeom>
        <a:solidFill>
          <a:srgbClr val="5B9BD5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Inconvenience of repeat purchase</a:t>
          </a:r>
          <a:endParaRPr lang="en-US" sz="1900" kern="1200" dirty="0"/>
        </a:p>
      </dsp:txBody>
      <dsp:txXfrm>
        <a:off x="492" y="2202819"/>
        <a:ext cx="1922673" cy="1153604"/>
      </dsp:txXfrm>
    </dsp:sp>
    <dsp:sp modelId="{05B3F51E-C6C5-BD43-8724-4721215F78A3}">
      <dsp:nvSpPr>
        <dsp:cNvPr id="0" name=""/>
        <dsp:cNvSpPr/>
      </dsp:nvSpPr>
      <dsp:spPr>
        <a:xfrm>
          <a:off x="2115433" y="2202819"/>
          <a:ext cx="1922673" cy="1153604"/>
        </a:xfrm>
        <a:prstGeom prst="rect">
          <a:avLst/>
        </a:prstGeom>
        <a:solidFill>
          <a:srgbClr val="43546A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/>
            <a:t>Requires</a:t>
          </a:r>
          <a:r>
            <a:rPr lang="en-US" sz="1900" kern="1200" baseline="0" dirty="0" smtClean="0"/>
            <a:t> purchase of multiple products</a:t>
          </a:r>
          <a:endParaRPr lang="en-US" sz="1900" kern="1200" dirty="0"/>
        </a:p>
      </dsp:txBody>
      <dsp:txXfrm>
        <a:off x="2115433" y="2202819"/>
        <a:ext cx="1922673" cy="115360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C4388C-6A70-DC42-88AA-D853E7DB5D9C}">
      <dsp:nvSpPr>
        <dsp:cNvPr id="0" name=""/>
        <dsp:cNvSpPr/>
      </dsp:nvSpPr>
      <dsp:spPr>
        <a:xfrm>
          <a:off x="0" y="2888"/>
          <a:ext cx="3993451" cy="767520"/>
        </a:xfrm>
        <a:prstGeom prst="roundRect">
          <a:avLst/>
        </a:prstGeom>
        <a:solidFill>
          <a:srgbClr val="43546A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ctr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dirty="0" smtClean="0"/>
            <a:t>DISADVANTAGES</a:t>
          </a:r>
          <a:endParaRPr lang="en-US" sz="3200" kern="1200" dirty="0"/>
        </a:p>
      </dsp:txBody>
      <dsp:txXfrm>
        <a:off x="37467" y="40355"/>
        <a:ext cx="3918517" cy="69258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List1">
  <dgm:title val=""/>
  <dgm:desc val=""/>
  <dgm:catLst>
    <dgm:cat type="list" pri="2000"/>
    <dgm:cat type="picture" pri="2500"/>
    <dgm:cat type="pictureconvert" pri="2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3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1"/>
      <dgm:constr type="sp" refType="w" refFor="ch" refForName="compNode" op="equ" fact="0.1"/>
      <dgm:constr type="primFontSz" for="des" ptType="node" op="equ" val="65"/>
    </dgm:constrLst>
    <dgm:ruleLst/>
    <dgm:forEach name="Name4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 axis="self"/>
        <dgm:constrLst>
          <dgm:constr type="h" refType="w" fact="1.06"/>
          <dgm:constr type="h" for="ch" forName="pictRect" refType="h" fact="0.65"/>
          <dgm:constr type="w" for="ch" forName="pictRect" refType="w"/>
          <dgm:constr type="l" for="ch" forName="pictRect"/>
          <dgm:constr type="t" for="ch" forName="pictRect"/>
          <dgm:constr type="w" for="ch" forName="textRect" refType="w"/>
          <dgm:constr type="h" for="ch" forName="textRect" refType="h" fact="0.35"/>
          <dgm:constr type="l" for="ch" forName="textRect"/>
          <dgm:constr type="t" for="ch" forName="textRect" refType="b" refFor="ch" refForName="pictRect"/>
        </dgm:constrLst>
        <dgm:ruleLst/>
        <dgm:layoutNode name="pictRect">
          <dgm:alg type="sp"/>
          <dgm:shape xmlns:r="http://schemas.openxmlformats.org/officeDocument/2006/relationships" type="roundRect" r:blip="" blipPhldr="1">
            <dgm:adjLst/>
          </dgm:shape>
          <dgm:presOf/>
          <dgm:constrLst/>
          <dgm:ruleLst/>
        </dgm:layoutNode>
        <dgm:layoutNode name="textRect" styleLbl="revTx">
          <dgm:varLst>
            <dgm:bulletEnabled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bMarg"/>
          </dgm:constrLst>
          <dgm:ruleLst>
            <dgm:rule type="primFontSz" val="5" fact="NaN" max="NaN"/>
          </dgm:ruleLst>
        </dgm:layoutNode>
      </dgm:layoutNode>
      <dgm:forEach name="Name5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DC57E8-3F60-7849-89A0-15354FBC8D97}" type="datetimeFigureOut">
              <a:rPr lang="en-US" smtClean="0"/>
              <a:t>11/30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Click to edit Master text styles</a:t>
            </a:r>
          </a:p>
          <a:p>
            <a:pPr lvl="1"/>
            <a:r>
              <a:rPr lang="es-ES" smtClean="0"/>
              <a:t>Second level</a:t>
            </a:r>
          </a:p>
          <a:p>
            <a:pPr lvl="2"/>
            <a:r>
              <a:rPr lang="es-ES" smtClean="0"/>
              <a:t>Third level</a:t>
            </a:r>
          </a:p>
          <a:p>
            <a:pPr lvl="3"/>
            <a:r>
              <a:rPr lang="es-ES" smtClean="0"/>
              <a:t>Fourth level</a:t>
            </a:r>
          </a:p>
          <a:p>
            <a:pPr lvl="4"/>
            <a:r>
              <a:rPr lang="es-E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94EB75-9007-C448-943C-B23B770DBB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1636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ontext</a:t>
            </a:r>
            <a:r>
              <a:rPr lang="en-US" baseline="0" dirty="0" smtClean="0"/>
              <a:t> </a:t>
            </a:r>
            <a:r>
              <a:rPr lang="en-US" baseline="0" dirty="0" smtClean="0">
                <a:sym typeface="Wingdings" panose="05000000000000000000" pitchFamily="2" charset="2"/>
              </a:rPr>
              <a:t> Overview of millennials and how they cook  First three things that come up when you google millennials in the kitchen &amp; stats  The new digital kitchen  When we are thinking about digital kitchen and the needs of millennials we identified three main needs/problems   Hate cleaning up, time efficiency/immediacy, </a:t>
            </a:r>
            <a:r>
              <a:rPr lang="en-US" baseline="0" dirty="0" err="1" smtClean="0">
                <a:sym typeface="Wingdings" panose="05000000000000000000" pitchFamily="2" charset="2"/>
              </a:rPr>
              <a:t>integratable</a:t>
            </a:r>
            <a:r>
              <a:rPr lang="en-US" baseline="0" dirty="0" smtClean="0">
                <a:sym typeface="Wingdings" panose="05000000000000000000" pitchFamily="2" charset="2"/>
              </a:rPr>
              <a:t> with their </a:t>
            </a:r>
            <a:r>
              <a:rPr lang="en-US" baseline="0" dirty="0" err="1" smtClean="0">
                <a:sym typeface="Wingdings" panose="05000000000000000000" pitchFamily="2" charset="2"/>
              </a:rPr>
              <a:t>technologcailly</a:t>
            </a:r>
            <a:r>
              <a:rPr lang="en-US" baseline="0" dirty="0" smtClean="0">
                <a:sym typeface="Wingdings" panose="05000000000000000000" pitchFamily="2" charset="2"/>
              </a:rPr>
              <a:t> savvy lifestyle (Data to back up?)</a:t>
            </a:r>
          </a:p>
          <a:p>
            <a:endParaRPr lang="en-US" baseline="0" dirty="0" smtClean="0">
              <a:sym typeface="Wingdings" panose="05000000000000000000" pitchFamily="2" charset="2"/>
            </a:endParaRPr>
          </a:p>
          <a:p>
            <a:r>
              <a:rPr lang="en-US" baseline="0" dirty="0" smtClean="0">
                <a:sym typeface="Wingdings" panose="05000000000000000000" pitchFamily="2" charset="2"/>
              </a:rPr>
              <a:t>Product  When </a:t>
            </a:r>
            <a:r>
              <a:rPr lang="en-US" baseline="0" dirty="0" err="1" smtClean="0">
                <a:sym typeface="Wingdings" panose="05000000000000000000" pitchFamily="2" charset="2"/>
              </a:rPr>
              <a:t>thinkinking</a:t>
            </a:r>
            <a:r>
              <a:rPr lang="en-US" baseline="0" dirty="0" smtClean="0">
                <a:sym typeface="Wingdings" panose="05000000000000000000" pitchFamily="2" charset="2"/>
              </a:rPr>
              <a:t> about these challenges, this is what we came up with SCREENSAVOR  Walk through the product features, components, and attributes</a:t>
            </a:r>
          </a:p>
          <a:p>
            <a:endParaRPr lang="en-US" baseline="0" dirty="0" smtClean="0">
              <a:sym typeface="Wingdings" panose="05000000000000000000" pitchFamily="2" charset="2"/>
            </a:endParaRPr>
          </a:p>
          <a:p>
            <a:r>
              <a:rPr lang="en-US" baseline="0" dirty="0" smtClean="0">
                <a:sym typeface="Wingdings" panose="05000000000000000000" pitchFamily="2" charset="2"/>
              </a:rPr>
              <a:t>Ideation Process  Full overview of thinking (brainstorming, given concepts, lecture from Bill…)  Competitor analysis &amp; Material overview  Configuration  Template </a:t>
            </a:r>
          </a:p>
          <a:p>
            <a:endParaRPr lang="en-US" baseline="0" dirty="0" smtClean="0">
              <a:sym typeface="Wingdings" panose="05000000000000000000" pitchFamily="2" charset="2"/>
            </a:endParaRPr>
          </a:p>
          <a:p>
            <a:endParaRPr lang="en-US" baseline="0" dirty="0" smtClean="0">
              <a:sym typeface="Wingdings" panose="05000000000000000000" pitchFamily="2" charset="2"/>
            </a:endParaRPr>
          </a:p>
          <a:p>
            <a:endParaRPr lang="en-US" baseline="0" dirty="0" smtClean="0">
              <a:sym typeface="Wingdings" panose="05000000000000000000" pitchFamily="2" charset="2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94EB75-9007-C448-943C-B23B770DBBE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5929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94EB75-9007-C448-943C-B23B770DBBE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452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>
                <a:sym typeface="Wingdings" panose="05000000000000000000" pitchFamily="2" charset="2"/>
              </a:rPr>
              <a:t>Hate cleaning up, time efficiency/immediacy, </a:t>
            </a:r>
            <a:r>
              <a:rPr lang="en-US" baseline="0" dirty="0" err="1" smtClean="0">
                <a:sym typeface="Wingdings" panose="05000000000000000000" pitchFamily="2" charset="2"/>
              </a:rPr>
              <a:t>integratable</a:t>
            </a:r>
            <a:r>
              <a:rPr lang="en-US" baseline="0" dirty="0" smtClean="0">
                <a:sym typeface="Wingdings" panose="05000000000000000000" pitchFamily="2" charset="2"/>
              </a:rPr>
              <a:t> with their </a:t>
            </a:r>
            <a:r>
              <a:rPr lang="en-US" baseline="0" dirty="0" err="1" smtClean="0">
                <a:sym typeface="Wingdings" panose="05000000000000000000" pitchFamily="2" charset="2"/>
              </a:rPr>
              <a:t>technologcailly</a:t>
            </a:r>
            <a:r>
              <a:rPr lang="en-US" baseline="0" dirty="0" smtClean="0">
                <a:sym typeface="Wingdings" panose="05000000000000000000" pitchFamily="2" charset="2"/>
              </a:rPr>
              <a:t> savvy life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E94FA2-630F-9447-9C44-BADDF4DDFFC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2447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lean</a:t>
            </a:r>
            <a:r>
              <a:rPr lang="en-US" baseline="0" dirty="0" smtClean="0"/>
              <a:t> up</a:t>
            </a:r>
          </a:p>
          <a:p>
            <a:r>
              <a:rPr lang="en-US" baseline="0" dirty="0" smtClean="0"/>
              <a:t>Integration of tech</a:t>
            </a:r>
          </a:p>
          <a:p>
            <a:r>
              <a:rPr lang="en-US" baseline="0" dirty="0" smtClean="0"/>
              <a:t>Immediacy of info </a:t>
            </a:r>
          </a:p>
          <a:p>
            <a:endParaRPr lang="en-US" baseline="0" dirty="0" smtClean="0"/>
          </a:p>
          <a:p>
            <a:r>
              <a:rPr lang="en-US" baseline="0" dirty="0" smtClean="0"/>
              <a:t>Primary research: Importance of Placement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94EB75-9007-C448-943C-B23B770DBBE2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645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7B8AE-FCF4-A849-9697-E16DF0DB0771}" type="datetime1">
              <a:rPr lang="en-US" smtClean="0"/>
              <a:t>11/3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75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Click to edit Master text styles</a:t>
            </a:r>
          </a:p>
          <a:p>
            <a:pPr lvl="1"/>
            <a:r>
              <a:rPr lang="es-ES" smtClean="0"/>
              <a:t>Second level</a:t>
            </a:r>
          </a:p>
          <a:p>
            <a:pPr lvl="2"/>
            <a:r>
              <a:rPr lang="es-ES" smtClean="0"/>
              <a:t>Third level</a:t>
            </a:r>
          </a:p>
          <a:p>
            <a:pPr lvl="3"/>
            <a:r>
              <a:rPr lang="es-ES" smtClean="0"/>
              <a:t>Fourth level</a:t>
            </a:r>
          </a:p>
          <a:p>
            <a:pPr lvl="4"/>
            <a:r>
              <a:rPr lang="es-E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B386BE-CE36-974D-96C2-893FA022FBB5}" type="datetime1">
              <a:rPr lang="en-US" smtClean="0"/>
              <a:t>11/3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780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s-E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s-ES" smtClean="0"/>
              <a:t>Click to edit Master text styles</a:t>
            </a:r>
          </a:p>
          <a:p>
            <a:pPr lvl="1"/>
            <a:r>
              <a:rPr lang="es-ES" smtClean="0"/>
              <a:t>Second level</a:t>
            </a:r>
          </a:p>
          <a:p>
            <a:pPr lvl="2"/>
            <a:r>
              <a:rPr lang="es-ES" smtClean="0"/>
              <a:t>Third level</a:t>
            </a:r>
          </a:p>
          <a:p>
            <a:pPr lvl="3"/>
            <a:r>
              <a:rPr lang="es-ES" smtClean="0"/>
              <a:t>Fourth level</a:t>
            </a:r>
          </a:p>
          <a:p>
            <a:pPr lvl="4"/>
            <a:r>
              <a:rPr lang="es-E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CB77E-9555-A742-A59B-7F8F7DBD8D8B}" type="datetime1">
              <a:rPr lang="en-US" smtClean="0"/>
              <a:t>11/3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0897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200"/>
              <a:t>Title Text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1900"/>
              <a:t>Body Level One</a:t>
            </a:r>
          </a:p>
          <a:p>
            <a:pPr lvl="1">
              <a:defRPr sz="1800"/>
            </a:pPr>
            <a:r>
              <a:rPr sz="1900"/>
              <a:t>Body Level Two</a:t>
            </a:r>
          </a:p>
          <a:p>
            <a:pPr lvl="2">
              <a:defRPr sz="1800"/>
            </a:pPr>
            <a:r>
              <a:rPr sz="1900"/>
              <a:t>Body Level Three</a:t>
            </a:r>
          </a:p>
          <a:p>
            <a:pPr lvl="3">
              <a:defRPr sz="1800"/>
            </a:pPr>
            <a:r>
              <a:rPr sz="1900"/>
              <a:t>Body Level Four</a:t>
            </a:r>
          </a:p>
          <a:p>
            <a:pPr lvl="4">
              <a:defRPr sz="1800"/>
            </a:pPr>
            <a:r>
              <a:rPr sz="1900"/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2301754478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Click to edit Master text styles</a:t>
            </a:r>
          </a:p>
          <a:p>
            <a:pPr lvl="1"/>
            <a:r>
              <a:rPr lang="es-ES" smtClean="0"/>
              <a:t>Second level</a:t>
            </a:r>
          </a:p>
          <a:p>
            <a:pPr lvl="2"/>
            <a:r>
              <a:rPr lang="es-ES" smtClean="0"/>
              <a:t>Third level</a:t>
            </a:r>
          </a:p>
          <a:p>
            <a:pPr lvl="3"/>
            <a:r>
              <a:rPr lang="es-ES" smtClean="0"/>
              <a:t>Fourth level</a:t>
            </a:r>
          </a:p>
          <a:p>
            <a:pPr lvl="4"/>
            <a:r>
              <a:rPr lang="es-E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EEF56C-F740-934A-9EF6-918E98E48C05}" type="datetime1">
              <a:rPr lang="en-US" smtClean="0"/>
              <a:t>11/3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7845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63E626-FD69-7848-8A68-0264439E8CE0}" type="datetime1">
              <a:rPr lang="en-US" smtClean="0"/>
              <a:t>11/3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8502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Click to edit Master text styles</a:t>
            </a:r>
          </a:p>
          <a:p>
            <a:pPr lvl="1"/>
            <a:r>
              <a:rPr lang="es-ES" smtClean="0"/>
              <a:t>Second level</a:t>
            </a:r>
          </a:p>
          <a:p>
            <a:pPr lvl="2"/>
            <a:r>
              <a:rPr lang="es-ES" smtClean="0"/>
              <a:t>Third level</a:t>
            </a:r>
          </a:p>
          <a:p>
            <a:pPr lvl="3"/>
            <a:r>
              <a:rPr lang="es-ES" smtClean="0"/>
              <a:t>Fourth level</a:t>
            </a:r>
          </a:p>
          <a:p>
            <a:pPr lvl="4"/>
            <a:r>
              <a:rPr lang="es-E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Click to edit Master text styles</a:t>
            </a:r>
          </a:p>
          <a:p>
            <a:pPr lvl="1"/>
            <a:r>
              <a:rPr lang="es-ES" smtClean="0"/>
              <a:t>Second level</a:t>
            </a:r>
          </a:p>
          <a:p>
            <a:pPr lvl="2"/>
            <a:r>
              <a:rPr lang="es-ES" smtClean="0"/>
              <a:t>Third level</a:t>
            </a:r>
          </a:p>
          <a:p>
            <a:pPr lvl="3"/>
            <a:r>
              <a:rPr lang="es-ES" smtClean="0"/>
              <a:t>Fourth level</a:t>
            </a:r>
          </a:p>
          <a:p>
            <a:pPr lvl="4"/>
            <a:r>
              <a:rPr lang="es-E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6568D7-1D90-8D4B-8AD7-177056F7B6EC}" type="datetime1">
              <a:rPr lang="en-US" smtClean="0"/>
              <a:t>11/30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6350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s-E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s-ES" smtClean="0"/>
              <a:t>Click to edit Master text styles</a:t>
            </a:r>
          </a:p>
          <a:p>
            <a:pPr lvl="1"/>
            <a:r>
              <a:rPr lang="es-ES" smtClean="0"/>
              <a:t>Second level</a:t>
            </a:r>
          </a:p>
          <a:p>
            <a:pPr lvl="2"/>
            <a:r>
              <a:rPr lang="es-ES" smtClean="0"/>
              <a:t>Third level</a:t>
            </a:r>
          </a:p>
          <a:p>
            <a:pPr lvl="3"/>
            <a:r>
              <a:rPr lang="es-ES" smtClean="0"/>
              <a:t>Fourth level</a:t>
            </a:r>
          </a:p>
          <a:p>
            <a:pPr lvl="4"/>
            <a:r>
              <a:rPr lang="es-E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s-ES" smtClean="0"/>
              <a:t>Click to edit Master text styles</a:t>
            </a:r>
          </a:p>
          <a:p>
            <a:pPr lvl="1"/>
            <a:r>
              <a:rPr lang="es-ES" smtClean="0"/>
              <a:t>Second level</a:t>
            </a:r>
          </a:p>
          <a:p>
            <a:pPr lvl="2"/>
            <a:r>
              <a:rPr lang="es-ES" smtClean="0"/>
              <a:t>Third level</a:t>
            </a:r>
          </a:p>
          <a:p>
            <a:pPr lvl="3"/>
            <a:r>
              <a:rPr lang="es-ES" smtClean="0"/>
              <a:t>Fourth level</a:t>
            </a:r>
          </a:p>
          <a:p>
            <a:pPr lvl="4"/>
            <a:r>
              <a:rPr lang="es-E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EDDEEE-F5D3-A448-A4A5-2D54D2DAE2E0}" type="datetime1">
              <a:rPr lang="en-US" smtClean="0"/>
              <a:t>11/30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6156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2B03E1-3651-4B4D-8EC4-5B2C3E263D6E}" type="datetime1">
              <a:rPr lang="en-US" smtClean="0"/>
              <a:t>11/3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1732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FFBD9B-F994-A241-A195-75DFD8BB8823}" type="datetime1">
              <a:rPr lang="en-US" smtClean="0"/>
              <a:t>11/30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8606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Click to edit Master text styles</a:t>
            </a:r>
          </a:p>
          <a:p>
            <a:pPr lvl="1"/>
            <a:r>
              <a:rPr lang="es-ES" smtClean="0"/>
              <a:t>Second level</a:t>
            </a:r>
          </a:p>
          <a:p>
            <a:pPr lvl="2"/>
            <a:r>
              <a:rPr lang="es-ES" smtClean="0"/>
              <a:t>Third level</a:t>
            </a:r>
          </a:p>
          <a:p>
            <a:pPr lvl="3"/>
            <a:r>
              <a:rPr lang="es-ES" smtClean="0"/>
              <a:t>Fourth level</a:t>
            </a:r>
          </a:p>
          <a:p>
            <a:pPr lvl="4"/>
            <a:r>
              <a:rPr lang="es-E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28F467-C1A7-E145-805B-62B2409F9F35}" type="datetime1">
              <a:rPr lang="en-US" smtClean="0"/>
              <a:t>11/30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9948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 smtClean="0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0A18B-2FB0-384E-8F51-457B209CEDD8}" type="datetime1">
              <a:rPr lang="en-US" smtClean="0"/>
              <a:t>11/30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Title of presentation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808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Click to edit Master text styles</a:t>
            </a:r>
          </a:p>
          <a:p>
            <a:pPr lvl="1"/>
            <a:r>
              <a:rPr lang="es-ES" smtClean="0"/>
              <a:t>Second level</a:t>
            </a:r>
          </a:p>
          <a:p>
            <a:pPr lvl="2"/>
            <a:r>
              <a:rPr lang="es-ES" smtClean="0"/>
              <a:t>Third level</a:t>
            </a:r>
          </a:p>
          <a:p>
            <a:pPr lvl="3"/>
            <a:r>
              <a:rPr lang="es-ES" smtClean="0"/>
              <a:t>Fourth level</a:t>
            </a:r>
          </a:p>
          <a:p>
            <a:pPr lvl="4"/>
            <a:r>
              <a:rPr lang="es-E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915DDD-88F2-8043-8390-718F9A794840}" type="datetime1">
              <a:rPr lang="en-US" smtClean="0"/>
              <a:t>11/3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Title of presentat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4935AA-5B98-AF48-81F9-E6158C1074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04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34.png"/><Relationship Id="rId7" Type="http://schemas.openxmlformats.org/officeDocument/2006/relationships/diagramColors" Target="../diagrams/colors5.xm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12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40.png"/><Relationship Id="rId5" Type="http://schemas.openxmlformats.org/officeDocument/2006/relationships/tags" Target="../tags/tag14.xml"/><Relationship Id="rId10" Type="http://schemas.openxmlformats.org/officeDocument/2006/relationships/image" Target="../media/image39.png"/><Relationship Id="rId4" Type="http://schemas.openxmlformats.org/officeDocument/2006/relationships/tags" Target="../tags/tag13.xml"/><Relationship Id="rId9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6.xml"/><Relationship Id="rId13" Type="http://schemas.microsoft.com/office/2007/relationships/diagramDrawing" Target="../diagrams/drawing7.xml"/><Relationship Id="rId3" Type="http://schemas.openxmlformats.org/officeDocument/2006/relationships/image" Target="../media/image41.jpg"/><Relationship Id="rId7" Type="http://schemas.openxmlformats.org/officeDocument/2006/relationships/diagramColors" Target="../diagrams/colors6.xml"/><Relationship Id="rId12" Type="http://schemas.openxmlformats.org/officeDocument/2006/relationships/diagramColors" Target="../diagrams/colors7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diagramQuickStyle" Target="../diagrams/quickStyle6.xml"/><Relationship Id="rId11" Type="http://schemas.openxmlformats.org/officeDocument/2006/relationships/diagramQuickStyle" Target="../diagrams/quickStyle7.xml"/><Relationship Id="rId5" Type="http://schemas.openxmlformats.org/officeDocument/2006/relationships/diagramLayout" Target="../diagrams/layout6.xml"/><Relationship Id="rId10" Type="http://schemas.openxmlformats.org/officeDocument/2006/relationships/diagramLayout" Target="../diagrams/layout7.xml"/><Relationship Id="rId4" Type="http://schemas.openxmlformats.org/officeDocument/2006/relationships/diagramData" Target="../diagrams/data6.xml"/><Relationship Id="rId9" Type="http://schemas.openxmlformats.org/officeDocument/2006/relationships/diagramData" Target="../diagrams/data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g"/><Relationship Id="rId7" Type="http://schemas.openxmlformats.org/officeDocument/2006/relationships/image" Target="../media/image47.jpg"/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png"/><Relationship Id="rId5" Type="http://schemas.openxmlformats.org/officeDocument/2006/relationships/image" Target="../media/image45.jpg"/><Relationship Id="rId4" Type="http://schemas.openxmlformats.org/officeDocument/2006/relationships/image" Target="../media/image4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oleObject" Target="../embeddings/oleObject1.bin"/><Relationship Id="rId5" Type="http://schemas.openxmlformats.org/officeDocument/2006/relationships/tags" Target="../tags/tag4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3.xml"/><Relationship Id="rId9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g"/><Relationship Id="rId7" Type="http://schemas.openxmlformats.org/officeDocument/2006/relationships/image" Target="../media/image46.png"/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jpg"/><Relationship Id="rId5" Type="http://schemas.openxmlformats.org/officeDocument/2006/relationships/image" Target="../media/image44.jpg"/><Relationship Id="rId4" Type="http://schemas.openxmlformats.org/officeDocument/2006/relationships/image" Target="../media/image48.jp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jpg"/><Relationship Id="rId7" Type="http://schemas.openxmlformats.org/officeDocument/2006/relationships/image" Target="../media/image54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3.png"/><Relationship Id="rId11" Type="http://schemas.openxmlformats.org/officeDocument/2006/relationships/image" Target="../media/image58.png"/><Relationship Id="rId5" Type="http://schemas.openxmlformats.org/officeDocument/2006/relationships/image" Target="../media/image52.pn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g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13" Type="http://schemas.openxmlformats.org/officeDocument/2006/relationships/image" Target="../media/image15.jpg"/><Relationship Id="rId18" Type="http://schemas.openxmlformats.org/officeDocument/2006/relationships/image" Target="../media/image20.png"/><Relationship Id="rId3" Type="http://schemas.openxmlformats.org/officeDocument/2006/relationships/image" Target="../media/image10.png"/><Relationship Id="rId21" Type="http://schemas.openxmlformats.org/officeDocument/2006/relationships/image" Target="../media/image23.png"/><Relationship Id="rId7" Type="http://schemas.openxmlformats.org/officeDocument/2006/relationships/diagramColors" Target="../diagrams/colors2.xml"/><Relationship Id="rId12" Type="http://schemas.openxmlformats.org/officeDocument/2006/relationships/image" Target="../media/image14.jpg"/><Relationship Id="rId17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11" Type="http://schemas.openxmlformats.org/officeDocument/2006/relationships/image" Target="../media/image13.png"/><Relationship Id="rId5" Type="http://schemas.openxmlformats.org/officeDocument/2006/relationships/diagramLayout" Target="../diagrams/layout2.xml"/><Relationship Id="rId15" Type="http://schemas.openxmlformats.org/officeDocument/2006/relationships/image" Target="../media/image17.jpg"/><Relationship Id="rId10" Type="http://schemas.openxmlformats.org/officeDocument/2006/relationships/image" Target="../media/image12.png"/><Relationship Id="rId19" Type="http://schemas.openxmlformats.org/officeDocument/2006/relationships/image" Target="../media/image21.png"/><Relationship Id="rId4" Type="http://schemas.openxmlformats.org/officeDocument/2006/relationships/diagramData" Target="../diagrams/data2.xml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-6313"/>
            <a:ext cx="9144000" cy="1950431"/>
          </a:xfrm>
          <a:prstGeom prst="rect">
            <a:avLst/>
          </a:prstGeom>
          <a:solidFill>
            <a:srgbClr val="43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  <a:latin typeface="Circular Pro Book"/>
              <a:cs typeface="Circular Pro Book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8003" y="491478"/>
            <a:ext cx="8104094" cy="802178"/>
          </a:xfrm>
        </p:spPr>
        <p:txBody>
          <a:bodyPr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  <a:latin typeface="Circular Pro Book"/>
                <a:ea typeface="Arial" charset="0"/>
                <a:cs typeface="Circular Pro Book"/>
              </a:rPr>
              <a:t>ScreenSavor</a:t>
            </a:r>
            <a:endParaRPr lang="en-US" sz="4000" dirty="0">
              <a:solidFill>
                <a:schemeClr val="bg1"/>
              </a:solidFill>
              <a:latin typeface="Circular Pro Book"/>
              <a:ea typeface="Arial" charset="0"/>
              <a:cs typeface="Circular Pro Book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109734"/>
            <a:ext cx="6858000" cy="2286000"/>
          </a:xfrm>
        </p:spPr>
        <p:txBody>
          <a:bodyPr>
            <a:normAutofit/>
          </a:bodyPr>
          <a:lstStyle/>
          <a:p>
            <a:pPr algn="r"/>
            <a:r>
              <a:rPr lang="en-US" sz="1300" b="1" dirty="0" smtClean="0">
                <a:latin typeface="Circular Pro Book"/>
                <a:cs typeface="Circular Pro Book"/>
              </a:rPr>
              <a:t>Leila Feldman</a:t>
            </a:r>
          </a:p>
          <a:p>
            <a:pPr algn="r"/>
            <a:r>
              <a:rPr lang="en-US" sz="1300" b="1" dirty="0" smtClean="0">
                <a:latin typeface="Circular Pro Book"/>
                <a:cs typeface="Circular Pro Book"/>
              </a:rPr>
              <a:t>Salima </a:t>
            </a:r>
            <a:r>
              <a:rPr lang="en-US" sz="1300" b="1" dirty="0" err="1" smtClean="0">
                <a:latin typeface="Circular Pro Book"/>
                <a:cs typeface="Circular Pro Book"/>
              </a:rPr>
              <a:t>Ghadimi</a:t>
            </a:r>
            <a:endParaRPr lang="en-US" sz="1300" b="1" dirty="0" smtClean="0">
              <a:latin typeface="Circular Pro Book"/>
              <a:cs typeface="Circular Pro Book"/>
            </a:endParaRPr>
          </a:p>
          <a:p>
            <a:pPr algn="r"/>
            <a:r>
              <a:rPr lang="en-US" sz="1300" b="1" dirty="0" smtClean="0">
                <a:latin typeface="Circular Pro Book"/>
                <a:cs typeface="Circular Pro Book"/>
              </a:rPr>
              <a:t>Gregory Howard</a:t>
            </a:r>
          </a:p>
          <a:p>
            <a:pPr algn="r"/>
            <a:r>
              <a:rPr lang="en-US" sz="1300" b="1" dirty="0" err="1" smtClean="0">
                <a:latin typeface="Circular Pro Book"/>
                <a:cs typeface="Circular Pro Book"/>
              </a:rPr>
              <a:t>Mattias</a:t>
            </a:r>
            <a:r>
              <a:rPr lang="en-US" sz="1300" b="1" dirty="0" smtClean="0">
                <a:latin typeface="Circular Pro Book"/>
                <a:cs typeface="Circular Pro Book"/>
              </a:rPr>
              <a:t> Olsson</a:t>
            </a:r>
          </a:p>
          <a:p>
            <a:pPr algn="r"/>
            <a:r>
              <a:rPr lang="en-US" sz="1300" b="1" dirty="0" smtClean="0">
                <a:latin typeface="Circular Pro Book"/>
                <a:cs typeface="Circular Pro Book"/>
              </a:rPr>
              <a:t>Marina Palm</a:t>
            </a:r>
          </a:p>
          <a:p>
            <a:pPr algn="r"/>
            <a:r>
              <a:rPr lang="en-US" sz="1300" b="1" dirty="0" smtClean="0">
                <a:latin typeface="Circular Pro Book"/>
                <a:cs typeface="Circular Pro Book"/>
              </a:rPr>
              <a:t>Benjamin Rosenbaum</a:t>
            </a:r>
          </a:p>
          <a:p>
            <a:pPr algn="r"/>
            <a:r>
              <a:rPr lang="en-US" sz="1300" b="1" dirty="0" smtClean="0">
                <a:latin typeface="Circular Pro Book"/>
                <a:cs typeface="Circular Pro Book"/>
              </a:rPr>
              <a:t>Nathaniel </a:t>
            </a:r>
            <a:r>
              <a:rPr lang="en-US" sz="1300" b="1" dirty="0" err="1" smtClean="0">
                <a:latin typeface="Circular Pro Book"/>
                <a:cs typeface="Circular Pro Book"/>
              </a:rPr>
              <a:t>Sena</a:t>
            </a:r>
            <a:endParaRPr lang="en-US" sz="1300" b="1" dirty="0" smtClean="0">
              <a:latin typeface="Circular Pro Book"/>
              <a:cs typeface="Circular Pro Book"/>
            </a:endParaRPr>
          </a:p>
          <a:p>
            <a:pPr algn="l"/>
            <a:endParaRPr lang="en-US" dirty="0" smtClean="0">
              <a:latin typeface="Circular Pro Book"/>
              <a:cs typeface="Circular Pro Book"/>
            </a:endParaRPr>
          </a:p>
          <a:p>
            <a:pPr algn="l"/>
            <a:endParaRPr lang="en-US" dirty="0">
              <a:latin typeface="Circular Pro Book"/>
              <a:cs typeface="Circular Pro Book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1546963"/>
            <a:ext cx="7566212" cy="7943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  <a:latin typeface="Circular Pro Book"/>
                <a:cs typeface="Circular Pro Book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ircular Pro Book"/>
                <a:cs typeface="Circular Pro Book"/>
              </a:rPr>
              <a:t>      Creativity, Professor Rom </a:t>
            </a:r>
            <a:r>
              <a:rPr lang="en-US" dirty="0" err="1" smtClean="0">
                <a:solidFill>
                  <a:schemeClr val="tx1"/>
                </a:solidFill>
                <a:latin typeface="Circular Pro Book"/>
                <a:cs typeface="Circular Pro Book"/>
              </a:rPr>
              <a:t>Schrift</a:t>
            </a:r>
            <a:endParaRPr lang="en-US" dirty="0">
              <a:solidFill>
                <a:schemeClr val="tx1"/>
              </a:solidFill>
              <a:latin typeface="Circular Pro Book"/>
              <a:cs typeface="Circular Pro Book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6561350"/>
            <a:ext cx="9144000" cy="331932"/>
          </a:xfrm>
          <a:prstGeom prst="rect">
            <a:avLst/>
          </a:prstGeom>
          <a:solidFill>
            <a:schemeClr val="tx2">
              <a:lumMod val="75000"/>
              <a:alpha val="509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100" dirty="0" smtClean="0">
                <a:latin typeface="Circular Pro Book"/>
                <a:ea typeface="Arial" charset="0"/>
                <a:cs typeface="Circular Pro Book"/>
              </a:rPr>
              <a:t>Tuesday, December 1</a:t>
            </a:r>
            <a:r>
              <a:rPr lang="en-US" sz="1100" baseline="30000" dirty="0" smtClean="0">
                <a:latin typeface="Circular Pro Book"/>
                <a:ea typeface="Arial" charset="0"/>
                <a:cs typeface="Circular Pro Book"/>
              </a:rPr>
              <a:t>st</a:t>
            </a:r>
            <a:r>
              <a:rPr lang="en-US" sz="1100" dirty="0" smtClean="0">
                <a:latin typeface="Circular Pro Book"/>
                <a:ea typeface="Arial" charset="0"/>
                <a:cs typeface="Circular Pro Book"/>
              </a:rPr>
              <a:t>, 2015</a:t>
            </a:r>
            <a:endParaRPr lang="en-US" sz="1100" dirty="0">
              <a:latin typeface="Circular Pro Book"/>
              <a:ea typeface="Arial" charset="0"/>
              <a:cs typeface="Circular Pro Book"/>
            </a:endParaRPr>
          </a:p>
        </p:txBody>
      </p:sp>
      <p:pic>
        <p:nvPicPr>
          <p:cNvPr id="7" name="Picture 6" descr="Render_5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548" y="2775969"/>
            <a:ext cx="5956772" cy="3350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704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>
                <a:latin typeface="Circular Pro Book"/>
              </a:rPr>
              <a:t>10</a:t>
            </a:fld>
            <a:endParaRPr lang="en-US">
              <a:latin typeface="Circular Pro Book"/>
            </a:endParaRPr>
          </a:p>
        </p:txBody>
      </p:sp>
      <p:pic>
        <p:nvPicPr>
          <p:cNvPr id="7" name="Picture 6" descr="Render_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38680"/>
            <a:ext cx="9144000" cy="5143500"/>
          </a:xfrm>
          <a:prstGeom prst="rect">
            <a:avLst/>
          </a:prstGeom>
        </p:spPr>
      </p:pic>
      <p:sp>
        <p:nvSpPr>
          <p:cNvPr id="8" name="Subtitle 2"/>
          <p:cNvSpPr txBox="1">
            <a:spLocks/>
          </p:cNvSpPr>
          <p:nvPr/>
        </p:nvSpPr>
        <p:spPr>
          <a:xfrm>
            <a:off x="0" y="0"/>
            <a:ext cx="9144000" cy="91733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 </a:t>
            </a:r>
            <a:r>
              <a:rPr lang="en-US" sz="3600" b="1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Solution</a:t>
            </a:r>
            <a:endParaRPr lang="en-US" sz="3600" b="1" dirty="0">
              <a:solidFill>
                <a:srgbClr val="000000"/>
              </a:solidFill>
              <a:latin typeface="Circular Pro Book"/>
              <a:cs typeface="Circular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1447744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latin typeface="Circular Pro Book"/>
              </a:rPr>
              <a:t>Title of presentation</a:t>
            </a:r>
            <a:endParaRPr lang="en-US">
              <a:latin typeface="Circular Pro Book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>
                <a:latin typeface="Circular Pro Book"/>
              </a:rPr>
              <a:t>11</a:t>
            </a:fld>
            <a:endParaRPr lang="en-US">
              <a:latin typeface="Circular Pro Book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35740003"/>
              </p:ext>
            </p:extLst>
          </p:nvPr>
        </p:nvGraphicFramePr>
        <p:xfrm>
          <a:off x="568106" y="1537462"/>
          <a:ext cx="8287664" cy="48188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ubtitle 2"/>
          <p:cNvSpPr txBox="1">
            <a:spLocks/>
          </p:cNvSpPr>
          <p:nvPr/>
        </p:nvSpPr>
        <p:spPr>
          <a:xfrm>
            <a:off x="0" y="0"/>
            <a:ext cx="9144000" cy="91733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b="1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 Benefits</a:t>
            </a:r>
            <a:endParaRPr lang="en-US" sz="3000" b="1" dirty="0">
              <a:solidFill>
                <a:srgbClr val="000000"/>
              </a:solidFill>
              <a:latin typeface="Circular Pro Book"/>
              <a:cs typeface="Circular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3179591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>
                <a:latin typeface="Circular Pro Book"/>
              </a:rPr>
              <a:t>12</a:t>
            </a:fld>
            <a:endParaRPr lang="en-US">
              <a:latin typeface="Circular Pro Book"/>
            </a:endParaRPr>
          </a:p>
        </p:txBody>
      </p:sp>
      <p:sp>
        <p:nvSpPr>
          <p:cNvPr id="7" name="Subtitle 2"/>
          <p:cNvSpPr txBox="1">
            <a:spLocks/>
          </p:cNvSpPr>
          <p:nvPr/>
        </p:nvSpPr>
        <p:spPr>
          <a:xfrm>
            <a:off x="0" y="0"/>
            <a:ext cx="9144000" cy="91733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 Ideation Process</a:t>
            </a:r>
            <a:endParaRPr lang="en-US" sz="3600" dirty="0">
              <a:solidFill>
                <a:srgbClr val="000000"/>
              </a:solidFill>
              <a:latin typeface="Circular Pro Book"/>
              <a:cs typeface="Circular Pro Book"/>
            </a:endParaRPr>
          </a:p>
        </p:txBody>
      </p:sp>
      <p:sp>
        <p:nvSpPr>
          <p:cNvPr id="8" name="Text Placeholder 2">
            <a:hlinkClick r:id="" action="ppaction://noaction"/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222677" y="1175759"/>
            <a:ext cx="2378283" cy="327921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438" tIns="71438" rIns="0" bIns="71438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166" indent="-21836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519735" indent="-297765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98395" indent="-176854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6pPr>
            <a:lvl7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7pPr>
            <a:lvl8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8pPr>
            <a:lvl9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805" lvl="1" indent="0" algn="ctr">
              <a:buClr>
                <a:schemeClr val="bg1"/>
              </a:buClr>
              <a:buNone/>
            </a:pPr>
            <a:r>
              <a:rPr lang="en-US" sz="1200" dirty="0" smtClean="0">
                <a:solidFill>
                  <a:schemeClr val="bg1"/>
                </a:solidFill>
                <a:latin typeface="Circular Pro Book"/>
                <a:cs typeface="Circular Pro Book"/>
              </a:rPr>
              <a:t>Process Step</a:t>
            </a:r>
            <a:endParaRPr lang="en-US" sz="1200" dirty="0">
              <a:solidFill>
                <a:schemeClr val="bg1"/>
              </a:solidFill>
              <a:latin typeface="Circular Pro Book"/>
              <a:cs typeface="Circular Pro Book"/>
            </a:endParaRPr>
          </a:p>
        </p:txBody>
      </p:sp>
      <p:sp>
        <p:nvSpPr>
          <p:cNvPr id="9" name="Text Placeholder 2">
            <a:hlinkClick r:id="" action="ppaction://noaction"/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2854117" y="1175759"/>
            <a:ext cx="6075680" cy="327921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438" tIns="71438" rIns="0" bIns="71438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166" indent="-21836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519735" indent="-297765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98395" indent="-176854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6pPr>
            <a:lvl7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7pPr>
            <a:lvl8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8pPr>
            <a:lvl9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805" lvl="1" indent="0" algn="ctr">
              <a:buClr>
                <a:schemeClr val="bg1"/>
              </a:buClr>
              <a:buNone/>
            </a:pPr>
            <a:r>
              <a:rPr lang="en-US" sz="1200" dirty="0" smtClean="0">
                <a:solidFill>
                  <a:schemeClr val="bg1"/>
                </a:solidFill>
                <a:latin typeface="Circular Pro Book"/>
                <a:cs typeface="Circular Pro Book"/>
              </a:rPr>
              <a:t>Comments</a:t>
            </a:r>
            <a:endParaRPr lang="en-US" sz="1200" dirty="0">
              <a:solidFill>
                <a:schemeClr val="bg1"/>
              </a:solidFill>
              <a:latin typeface="Circular Pro Book"/>
              <a:cs typeface="Circular Pro Book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22677" y="1724715"/>
            <a:ext cx="2378283" cy="6696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Circular Pro Book"/>
                <a:cs typeface="Circular Pro Book"/>
              </a:rPr>
              <a:t>Scope Definition</a:t>
            </a:r>
            <a:endParaRPr lang="en-US" sz="1200" dirty="0">
              <a:solidFill>
                <a:schemeClr val="tx1"/>
              </a:solidFill>
              <a:latin typeface="Circular Pro Book"/>
              <a:cs typeface="Circular Pro Book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22677" y="2615410"/>
            <a:ext cx="2378283" cy="6696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Circular Pro Book"/>
                <a:cs typeface="Circular Pro Book"/>
              </a:rPr>
              <a:t>Empathize</a:t>
            </a:r>
            <a:endParaRPr lang="en-US" sz="1200" dirty="0">
              <a:solidFill>
                <a:schemeClr val="tx1"/>
              </a:solidFill>
              <a:latin typeface="Circular Pro Book"/>
              <a:cs typeface="Circular Pro Book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22676" y="3506105"/>
            <a:ext cx="2378283" cy="6696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Circular Pro Book"/>
                <a:cs typeface="Circular Pro Book"/>
              </a:rPr>
              <a:t>Define</a:t>
            </a:r>
            <a:endParaRPr lang="en-US" sz="1200" dirty="0">
              <a:solidFill>
                <a:schemeClr val="tx1"/>
              </a:solidFill>
              <a:latin typeface="Circular Pro Book"/>
              <a:cs typeface="Circular Pro Book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22677" y="4396799"/>
            <a:ext cx="2378283" cy="6696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Circular Pro Book"/>
                <a:cs typeface="Circular Pro Book"/>
              </a:rPr>
              <a:t>Ideate &amp; Prototype</a:t>
            </a:r>
            <a:endParaRPr lang="en-US" sz="1200" dirty="0">
              <a:solidFill>
                <a:schemeClr val="tx1"/>
              </a:solidFill>
              <a:latin typeface="Circular Pro Book"/>
              <a:cs typeface="Circular Pro Book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22675" y="5348453"/>
            <a:ext cx="2378283" cy="669659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Circular Pro Book"/>
                <a:cs typeface="Circular Pro Book"/>
              </a:rPr>
              <a:t>Testing</a:t>
            </a:r>
            <a:endParaRPr lang="en-US" sz="1200" dirty="0">
              <a:solidFill>
                <a:schemeClr val="tx1"/>
              </a:solidFill>
              <a:latin typeface="Circular Pro Book"/>
              <a:cs typeface="Circular Pro Book"/>
            </a:endParaRPr>
          </a:p>
        </p:txBody>
      </p:sp>
      <p:sp>
        <p:nvSpPr>
          <p:cNvPr id="2" name="Isosceles Triangle 1"/>
          <p:cNvSpPr/>
          <p:nvPr/>
        </p:nvSpPr>
        <p:spPr>
          <a:xfrm rot="10800000">
            <a:off x="284480" y="2394372"/>
            <a:ext cx="2245358" cy="221035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ircular Pro Book"/>
            </a:endParaRPr>
          </a:p>
        </p:txBody>
      </p:sp>
      <p:sp>
        <p:nvSpPr>
          <p:cNvPr id="18" name="Isosceles Triangle 17"/>
          <p:cNvSpPr/>
          <p:nvPr/>
        </p:nvSpPr>
        <p:spPr>
          <a:xfrm rot="10800000">
            <a:off x="284480" y="3266893"/>
            <a:ext cx="2245358" cy="221035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ircular Pro Book"/>
            </a:endParaRPr>
          </a:p>
        </p:txBody>
      </p:sp>
      <p:sp>
        <p:nvSpPr>
          <p:cNvPr id="19" name="Isosceles Triangle 18"/>
          <p:cNvSpPr/>
          <p:nvPr/>
        </p:nvSpPr>
        <p:spPr>
          <a:xfrm rot="10800000">
            <a:off x="284479" y="4175762"/>
            <a:ext cx="2245358" cy="221035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ircular Pro Book"/>
            </a:endParaRPr>
          </a:p>
        </p:txBody>
      </p:sp>
      <p:sp>
        <p:nvSpPr>
          <p:cNvPr id="20" name="Isosceles Triangle 19"/>
          <p:cNvSpPr/>
          <p:nvPr/>
        </p:nvSpPr>
        <p:spPr>
          <a:xfrm rot="10800000">
            <a:off x="237599" y="5063072"/>
            <a:ext cx="2245358" cy="221035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ircular Pro Book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2844800" y="2512715"/>
            <a:ext cx="60756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2854117" y="3395583"/>
            <a:ext cx="60756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2844800" y="4286281"/>
            <a:ext cx="60756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2844800" y="5265934"/>
            <a:ext cx="60756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2854117" y="1689433"/>
            <a:ext cx="59850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ircular Pro Book"/>
              </a:rPr>
              <a:t>Topics of interest – Future interests of millennials, how do millennials eat dinner today, effective packaging, open-stock cutting board business</a:t>
            </a:r>
            <a:endParaRPr lang="en-US" sz="1200" dirty="0">
              <a:latin typeface="Circular Pro Book"/>
            </a:endParaRP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ircular Pro Book"/>
              </a:rPr>
              <a:t>Top-down approach </a:t>
            </a:r>
            <a:r>
              <a:rPr lang="en-US" sz="1200" dirty="0" smtClean="0">
                <a:latin typeface="Circular Pro Book"/>
                <a:sym typeface="Wingdings" panose="05000000000000000000" pitchFamily="2" charset="2"/>
              </a:rPr>
              <a:t> </a:t>
            </a:r>
            <a:r>
              <a:rPr lang="en-US" sz="1200" dirty="0" smtClean="0">
                <a:latin typeface="Circular Pro Book"/>
              </a:rPr>
              <a:t>Integration of several topic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844800" y="2631775"/>
            <a:ext cx="59850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ircular Pro Book"/>
              </a:rPr>
              <a:t>Primary research – Exploratory interviews &amp; descriptive surveys</a:t>
            </a:r>
            <a:endParaRPr lang="en-US" sz="1200" dirty="0">
              <a:latin typeface="Circular Pro Book"/>
            </a:endParaRP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ircular Pro Book"/>
              </a:rPr>
              <a:t>Secondary research – Confirm our primary finding with secondary verification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ircular Pro Book"/>
              </a:rPr>
              <a:t>We wanted to understand our target group </a:t>
            </a:r>
            <a:endParaRPr lang="en-US" sz="1200" dirty="0">
              <a:latin typeface="Circular Pro Book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844799" y="3498625"/>
            <a:ext cx="59850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ircular Pro Book"/>
              </a:rPr>
              <a:t>When analyzing the data - </a:t>
            </a:r>
            <a:r>
              <a:rPr lang="en-US" sz="1200" dirty="0">
                <a:latin typeface="Circular Pro Book"/>
              </a:rPr>
              <a:t>Three problems you saw </a:t>
            </a:r>
            <a:r>
              <a:rPr lang="en-US" sz="1200" dirty="0" smtClean="0">
                <a:latin typeface="Circular Pro Book"/>
              </a:rPr>
              <a:t>earlier</a:t>
            </a:r>
            <a:endParaRPr lang="en-US" sz="1200" dirty="0">
              <a:latin typeface="Circular Pro Book"/>
            </a:endParaRP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ircular Pro Book"/>
              </a:rPr>
              <a:t>Competitor analysis – Understanding of what was already out there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ircular Pro Book"/>
              </a:rPr>
              <a:t>Our POV was to solve those three problems with one integrated product</a:t>
            </a:r>
            <a:endParaRPr lang="en-US" sz="1200" dirty="0">
              <a:latin typeface="Circular Pro Book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844796" y="4352787"/>
            <a:ext cx="59850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ircular Pro Book"/>
              </a:rPr>
              <a:t>Brainstorming – Nothing was discriminated against – As crazy ideas as possible</a:t>
            </a:r>
            <a:endParaRPr lang="en-US" sz="1200" dirty="0">
              <a:latin typeface="Circular Pro Book"/>
            </a:endParaRP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ircular Pro Book"/>
              </a:rPr>
              <a:t>Democratic voting process on concept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ircular Pro Book"/>
              </a:rPr>
              <a:t>List configuration and apply templates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200" dirty="0" err="1" smtClean="0">
                <a:latin typeface="Circular Pro Book"/>
              </a:rPr>
              <a:t>ScreenSavor</a:t>
            </a:r>
            <a:endParaRPr lang="en-US" sz="1200" dirty="0">
              <a:latin typeface="Circular Pro Book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844795" y="5404040"/>
            <a:ext cx="59850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ircular Pro Book"/>
              </a:rPr>
              <a:t>What we are doing with you</a:t>
            </a:r>
            <a:endParaRPr lang="en-US" sz="1200" dirty="0">
              <a:latin typeface="Circular Pro Book"/>
            </a:endParaRP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ircular Pro Book"/>
              </a:rPr>
              <a:t>Want to explore testing on a larger scale towards millennials in the kitchen</a:t>
            </a:r>
            <a:endParaRPr lang="en-US" sz="1200" dirty="0">
              <a:latin typeface="Circular Pro Book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22678" y="6159816"/>
            <a:ext cx="8616522" cy="492443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sz="1300" i="1" dirty="0" smtClean="0">
                <a:latin typeface="Circular Pro Book"/>
              </a:rPr>
              <a:t>“Design thinking is a mindset, it is about having an intentional process in order </a:t>
            </a:r>
          </a:p>
          <a:p>
            <a:pPr algn="ctr"/>
            <a:r>
              <a:rPr lang="en-US" sz="1300" i="1" dirty="0" smtClean="0">
                <a:latin typeface="Circular Pro Book"/>
              </a:rPr>
              <a:t>to get new relevant solutions that create positive impact.”</a:t>
            </a:r>
            <a:endParaRPr lang="en-US" sz="1300" i="1" dirty="0">
              <a:latin typeface="Circular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1709548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"/>
          <a:srcRect l="15522" t="12386"/>
          <a:stretch/>
        </p:blipFill>
        <p:spPr>
          <a:xfrm>
            <a:off x="7814311" y="2743043"/>
            <a:ext cx="516889" cy="52524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3"/>
          <a:srcRect l="13036" t="9444"/>
          <a:stretch/>
        </p:blipFill>
        <p:spPr>
          <a:xfrm>
            <a:off x="7461419" y="3205192"/>
            <a:ext cx="526091" cy="520701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latin typeface="Circular Pro Book"/>
              </a:rPr>
              <a:t>Title of presentation</a:t>
            </a:r>
            <a:endParaRPr lang="en-US" dirty="0">
              <a:latin typeface="Circular Pro Book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>
                <a:latin typeface="Circular Pro Book"/>
              </a:rPr>
              <a:t>13</a:t>
            </a:fld>
            <a:endParaRPr lang="en-US">
              <a:latin typeface="Circular Pro Book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0" y="0"/>
            <a:ext cx="9144000" cy="91733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 Scope Definition</a:t>
            </a:r>
            <a:endParaRPr lang="en-US" sz="3600" dirty="0">
              <a:solidFill>
                <a:srgbClr val="000000"/>
              </a:solidFill>
              <a:latin typeface="Circular Pro Book"/>
              <a:cs typeface="Circular Pro Book"/>
            </a:endParaRP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3915571586"/>
              </p:ext>
            </p:extLst>
          </p:nvPr>
        </p:nvGraphicFramePr>
        <p:xfrm>
          <a:off x="477520" y="1655802"/>
          <a:ext cx="3972560" cy="41706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cxnSp>
        <p:nvCxnSpPr>
          <p:cNvPr id="8" name="Straight Connector 7"/>
          <p:cNvCxnSpPr/>
          <p:nvPr/>
        </p:nvCxnSpPr>
        <p:spPr>
          <a:xfrm>
            <a:off x="4622800" y="1649115"/>
            <a:ext cx="41757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175760" y="2675275"/>
            <a:ext cx="41757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647440" y="3742075"/>
            <a:ext cx="41757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3129280" y="4758075"/>
            <a:ext cx="41757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641600" y="5791200"/>
            <a:ext cx="41757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312499" y="1869283"/>
            <a:ext cx="42028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ircular Pro Book"/>
              </a:rPr>
              <a:t>Open group discussion about topics of interest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ircular Pro Book"/>
              </a:rPr>
              <a:t>Discussed integration of multiple topic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916259" y="2834831"/>
            <a:ext cx="37050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ircular Pro Book"/>
              </a:rPr>
              <a:t>With the time line of the project – Level 1 seemed feasible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ircular Pro Book"/>
              </a:rPr>
              <a:t>Depending on basic concept, we reasoned that we could expand it into Level 2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418419" y="4022566"/>
            <a:ext cx="42028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ircular Pro Book"/>
              </a:rPr>
              <a:t>After open group discussion, we voted on the concepts we were to focus on</a:t>
            </a:r>
          </a:p>
          <a:p>
            <a:pPr>
              <a:buClr>
                <a:schemeClr val="accent1"/>
              </a:buClr>
            </a:pPr>
            <a:endParaRPr lang="en-US" sz="1200" dirty="0" smtClean="0">
              <a:latin typeface="Circular Pro Book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920579" y="4806059"/>
            <a:ext cx="420285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ircular Pro Book"/>
              </a:rPr>
              <a:t>With primary research we tried to single out existing problems 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200" dirty="0" smtClean="0">
                <a:latin typeface="Circular Pro Book"/>
              </a:rPr>
              <a:t>Narrowing problems down to three, we wanted to discover a way to satisfy group by solving those problems</a:t>
            </a:r>
          </a:p>
        </p:txBody>
      </p:sp>
    </p:spTree>
    <p:extLst>
      <p:ext uri="{BB962C8B-B14F-4D97-AF65-F5344CB8AC3E}">
        <p14:creationId xmlns:p14="http://schemas.microsoft.com/office/powerpoint/2010/main" val="3408948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3663448" y="1154435"/>
            <a:ext cx="5292576" cy="1837121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ircular Pro Book"/>
            </a:endParaRPr>
          </a:p>
        </p:txBody>
      </p:sp>
      <p:pic>
        <p:nvPicPr>
          <p:cNvPr id="15" name="Picture 14" descr="Untitled-1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9508" y="2091682"/>
            <a:ext cx="2092159" cy="3087097"/>
          </a:xfrm>
          <a:prstGeom prst="rect">
            <a:avLst/>
          </a:prstGeom>
        </p:spPr>
      </p:pic>
      <p:sp>
        <p:nvSpPr>
          <p:cNvPr id="10" name="Rounded Rectangle 9"/>
          <p:cNvSpPr/>
          <p:nvPr/>
        </p:nvSpPr>
        <p:spPr>
          <a:xfrm>
            <a:off x="3659227" y="4868333"/>
            <a:ext cx="5296797" cy="148801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ircular Pro Book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>
                <a:latin typeface="Circular Pro Book"/>
              </a:rPr>
              <a:t>14</a:t>
            </a:fld>
            <a:endParaRPr lang="en-US">
              <a:latin typeface="Circular Pro Book"/>
            </a:endParaRPr>
          </a:p>
        </p:txBody>
      </p:sp>
      <p:sp>
        <p:nvSpPr>
          <p:cNvPr id="7" name="Subtitle 2"/>
          <p:cNvSpPr txBox="1">
            <a:spLocks/>
          </p:cNvSpPr>
          <p:nvPr/>
        </p:nvSpPr>
        <p:spPr>
          <a:xfrm>
            <a:off x="0" y="0"/>
            <a:ext cx="9144000" cy="91733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 Primary Research</a:t>
            </a:r>
            <a:endParaRPr lang="en-US" sz="3600" dirty="0">
              <a:solidFill>
                <a:srgbClr val="000000"/>
              </a:solidFill>
              <a:latin typeface="Circular Pro Book"/>
              <a:cs typeface="Circular Pro Book"/>
            </a:endParaRPr>
          </a:p>
        </p:txBody>
      </p:sp>
      <p:graphicFrame>
        <p:nvGraphicFramePr>
          <p:cNvPr id="3" name="Chart 2"/>
          <p:cNvGraphicFramePr/>
          <p:nvPr>
            <p:extLst>
              <p:ext uri="{D42A27DB-BD31-4B8C-83A1-F6EECF244321}">
                <p14:modId xmlns:p14="http://schemas.microsoft.com/office/powerpoint/2010/main" val="3685960683"/>
              </p:ext>
            </p:extLst>
          </p:nvPr>
        </p:nvGraphicFramePr>
        <p:xfrm>
          <a:off x="1" y="957932"/>
          <a:ext cx="3487009" cy="5763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197877" y="4086063"/>
            <a:ext cx="228913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 smtClean="0">
                <a:latin typeface="Circular Pro Book"/>
              </a:rPr>
              <a:t>YES</a:t>
            </a:r>
          </a:p>
          <a:p>
            <a:pPr algn="ctr"/>
            <a:r>
              <a:rPr lang="en-US" sz="2500" i="1" dirty="0" smtClean="0">
                <a:latin typeface="Circular Pro Book"/>
              </a:rPr>
              <a:t>72%</a:t>
            </a:r>
            <a:endParaRPr lang="en-US" sz="2500" i="1" dirty="0">
              <a:latin typeface="Circular Pro Book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" y="3240955"/>
            <a:ext cx="197484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 smtClean="0">
                <a:latin typeface="Circular Pro Book"/>
              </a:rPr>
              <a:t>NO</a:t>
            </a:r>
          </a:p>
          <a:p>
            <a:pPr algn="ctr"/>
            <a:r>
              <a:rPr lang="en-US" sz="2500" i="1" dirty="0" smtClean="0">
                <a:latin typeface="Circular Pro Book"/>
              </a:rPr>
              <a:t>28%</a:t>
            </a:r>
            <a:endParaRPr lang="en-US" sz="2500" i="1" dirty="0">
              <a:latin typeface="Circular Pro Book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813829" y="4978614"/>
            <a:ext cx="50779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latin typeface="Circular Pro Book"/>
              </a:rPr>
              <a:t>“I always use my phone or iPad to look up vegan recipes while I cook.”</a:t>
            </a:r>
            <a:endParaRPr lang="en-US" sz="2400" dirty="0">
              <a:latin typeface="Circular Pro Book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487010" y="1233305"/>
            <a:ext cx="5292576" cy="1200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latin typeface="Circular Pro Book"/>
              </a:rPr>
              <a:t>“I like to watch Paula Dean on my tablet and follow along with her. It makes cooking more fun”</a:t>
            </a:r>
            <a:endParaRPr lang="en-US" sz="2400" dirty="0">
              <a:latin typeface="Circular Pro Book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813829" y="2427350"/>
            <a:ext cx="4929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 smtClean="0">
                <a:latin typeface="Circular Pro Book"/>
              </a:rPr>
              <a:t>Isabel, Penn Senior</a:t>
            </a:r>
            <a:endParaRPr lang="en-US" i="1" dirty="0">
              <a:latin typeface="Circular Pro Book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830339" y="5852490"/>
            <a:ext cx="4929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 smtClean="0">
                <a:latin typeface="Circular Pro Book"/>
              </a:rPr>
              <a:t>Sarah, Penn Sophomore</a:t>
            </a:r>
            <a:endParaRPr lang="en-US" i="1" dirty="0">
              <a:latin typeface="Circular Pro Book"/>
            </a:endParaRPr>
          </a:p>
        </p:txBody>
      </p:sp>
      <p:graphicFrame>
        <p:nvGraphicFramePr>
          <p:cNvPr id="16" name="Chart 15"/>
          <p:cNvGraphicFramePr/>
          <p:nvPr>
            <p:extLst>
              <p:ext uri="{D42A27DB-BD31-4B8C-83A1-F6EECF244321}">
                <p14:modId xmlns:p14="http://schemas.microsoft.com/office/powerpoint/2010/main" val="2526570982"/>
              </p:ext>
            </p:extLst>
          </p:nvPr>
        </p:nvGraphicFramePr>
        <p:xfrm>
          <a:off x="3162070" y="3094653"/>
          <a:ext cx="3197102" cy="19737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4737297" y="3263858"/>
            <a:ext cx="19748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latin typeface="Circular Pro Book"/>
              </a:rPr>
              <a:t>43%</a:t>
            </a:r>
            <a:endParaRPr lang="en-US" sz="2000" dirty="0">
              <a:latin typeface="Circular Pro Book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315304" y="4116840"/>
            <a:ext cx="19748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latin typeface="Circular Pro Book"/>
              </a:rPr>
              <a:t>76%</a:t>
            </a:r>
            <a:endParaRPr lang="en-US" sz="2000" dirty="0">
              <a:latin typeface="Circular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1772202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/>
        </p:nvSpPr>
        <p:spPr>
          <a:xfrm>
            <a:off x="131449" y="1072443"/>
            <a:ext cx="5296797" cy="1890889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ircular Pro Book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>
                <a:latin typeface="Circular Pro Book"/>
              </a:rPr>
              <a:t>15</a:t>
            </a:fld>
            <a:endParaRPr lang="en-US">
              <a:latin typeface="Circular Pro Book"/>
            </a:endParaRPr>
          </a:p>
        </p:txBody>
      </p:sp>
      <p:sp>
        <p:nvSpPr>
          <p:cNvPr id="7" name="Subtitle 2"/>
          <p:cNvSpPr txBox="1">
            <a:spLocks/>
          </p:cNvSpPr>
          <p:nvPr/>
        </p:nvSpPr>
        <p:spPr>
          <a:xfrm>
            <a:off x="0" y="0"/>
            <a:ext cx="9144000" cy="91733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 Primary Research</a:t>
            </a:r>
            <a:endParaRPr lang="en-US" sz="3600" dirty="0">
              <a:solidFill>
                <a:srgbClr val="000000"/>
              </a:solidFill>
              <a:latin typeface="Circular Pro Book"/>
              <a:cs typeface="Circular Pro Book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3773" y="1450836"/>
            <a:ext cx="49291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latin typeface="Circular Pro Book"/>
              </a:rPr>
              <a:t>“I actually spilled tomato sauce all over my phone last week”</a:t>
            </a:r>
            <a:endParaRPr lang="en-US" sz="2400" dirty="0">
              <a:latin typeface="Circular Pro Book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93773" y="2422944"/>
            <a:ext cx="4929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 smtClean="0">
                <a:latin typeface="Circular Pro Book"/>
              </a:rPr>
              <a:t>Celine, </a:t>
            </a:r>
            <a:r>
              <a:rPr lang="en-US" i="1" dirty="0" smtClean="0">
                <a:latin typeface="Circular Pro Book"/>
              </a:rPr>
              <a:t>Penn </a:t>
            </a:r>
            <a:r>
              <a:rPr lang="en-US" i="1" dirty="0" smtClean="0">
                <a:latin typeface="Circular Pro Book"/>
              </a:rPr>
              <a:t>Senior</a:t>
            </a:r>
            <a:endParaRPr lang="en-US" i="1" dirty="0">
              <a:latin typeface="Circular Pro Book"/>
            </a:endParaRPr>
          </a:p>
        </p:txBody>
      </p:sp>
      <p:pic>
        <p:nvPicPr>
          <p:cNvPr id="14" name="Picture 13" descr="6a00d83451d77869e20120a504f85f970b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6901" y="166725"/>
            <a:ext cx="3162300" cy="2908300"/>
          </a:xfrm>
          <a:prstGeom prst="rect">
            <a:avLst/>
          </a:prstGeom>
        </p:spPr>
      </p:pic>
      <p:graphicFrame>
        <p:nvGraphicFramePr>
          <p:cNvPr id="23" name="Chart 22"/>
          <p:cNvGraphicFramePr/>
          <p:nvPr>
            <p:extLst>
              <p:ext uri="{D42A27DB-BD31-4B8C-83A1-F6EECF244321}">
                <p14:modId xmlns:p14="http://schemas.microsoft.com/office/powerpoint/2010/main" val="2844659600"/>
              </p:ext>
            </p:extLst>
          </p:nvPr>
        </p:nvGraphicFramePr>
        <p:xfrm>
          <a:off x="2057402" y="3199418"/>
          <a:ext cx="7086598" cy="32173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3030714" y="3481129"/>
            <a:ext cx="19748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 smtClean="0">
                <a:latin typeface="Circular Pro Book"/>
              </a:rPr>
              <a:t>OTHER</a:t>
            </a:r>
            <a:endParaRPr lang="en-US" i="1" dirty="0">
              <a:latin typeface="Circular Pro Book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865968" y="4957137"/>
            <a:ext cx="19748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ircular Pro Book"/>
              </a:rPr>
              <a:t>RISK OF DAMAGE</a:t>
            </a:r>
            <a:endParaRPr lang="en-US" dirty="0">
              <a:latin typeface="Circular Pro Book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677159" y="4127665"/>
            <a:ext cx="23524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ircular Pro Book"/>
              </a:rPr>
              <a:t>HARD TO POSITION</a:t>
            </a:r>
            <a:endParaRPr lang="en-US" dirty="0">
              <a:latin typeface="Circular Pro Book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494846" y="5844266"/>
            <a:ext cx="27170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Circular Pro Book"/>
              </a:rPr>
              <a:t>CLEAN UP</a:t>
            </a:r>
            <a:endParaRPr lang="en-US" dirty="0">
              <a:latin typeface="Circular Pro Book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48169" y="4014839"/>
            <a:ext cx="221351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i="1" dirty="0" smtClean="0">
                <a:latin typeface="Circular Pro Book"/>
              </a:rPr>
              <a:t>Why Wouldn’t You Use a Tablet in the Kitchen?</a:t>
            </a:r>
            <a:endParaRPr lang="en-US" sz="2400" i="1" dirty="0">
              <a:latin typeface="Circular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3426061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>
                <a:latin typeface="Circular Pro Book"/>
              </a:rPr>
              <a:t>16</a:t>
            </a:fld>
            <a:endParaRPr lang="en-US">
              <a:latin typeface="Circular Pro Book"/>
            </a:endParaRPr>
          </a:p>
        </p:txBody>
      </p:sp>
      <p:sp>
        <p:nvSpPr>
          <p:cNvPr id="5" name="Text Placeholder 2">
            <a:hlinkClick r:id="" action="ppaction://noaction"/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628650" y="1611258"/>
            <a:ext cx="7897512" cy="272874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438" tIns="71438" rIns="0" bIns="71438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166" indent="-21836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519735" indent="-297765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98395" indent="-176854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6pPr>
            <a:lvl7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7pPr>
            <a:lvl8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8pPr>
            <a:lvl9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805" lvl="1" indent="0" algn="ctr">
              <a:buClr>
                <a:schemeClr val="bg1"/>
              </a:buClr>
              <a:buNone/>
            </a:pPr>
            <a:r>
              <a:rPr lang="en-US" sz="1800" dirty="0" smtClean="0">
                <a:solidFill>
                  <a:schemeClr val="bg1"/>
                </a:solidFill>
                <a:latin typeface="Circular Pro Book"/>
                <a:cs typeface="Circular Pro Book"/>
              </a:rPr>
              <a:t>Existing Alternatives</a:t>
            </a:r>
            <a:endParaRPr lang="en-US" sz="1800" dirty="0">
              <a:solidFill>
                <a:schemeClr val="bg1"/>
              </a:solidFill>
              <a:latin typeface="Circular Pro Book"/>
              <a:cs typeface="Circular Pro Book"/>
            </a:endParaRPr>
          </a:p>
        </p:txBody>
      </p:sp>
      <p:sp>
        <p:nvSpPr>
          <p:cNvPr id="6" name="Text Placeholder 2">
            <a:hlinkClick r:id="" action="ppaction://noaction"/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628650" y="2013123"/>
            <a:ext cx="1810783" cy="272874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438" tIns="71438" rIns="0" bIns="71438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166" indent="-21836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519735" indent="-297765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98395" indent="-176854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6pPr>
            <a:lvl7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7pPr>
            <a:lvl8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8pPr>
            <a:lvl9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805" lvl="1" indent="0" algn="ctr">
              <a:buClr>
                <a:schemeClr val="bg1"/>
              </a:buClr>
              <a:buNone/>
            </a:pPr>
            <a:r>
              <a:rPr lang="en-US" sz="1000" dirty="0" err="1" smtClean="0">
                <a:latin typeface="Circular Pro Book"/>
                <a:cs typeface="Circular Pro Book"/>
              </a:rPr>
              <a:t>KidoLight</a:t>
            </a:r>
            <a:r>
              <a:rPr lang="en-US" sz="1000" dirty="0" smtClean="0">
                <a:latin typeface="Circular Pro Book"/>
                <a:cs typeface="Circular Pro Book"/>
              </a:rPr>
              <a:t> Armor Box</a:t>
            </a:r>
            <a:endParaRPr lang="en-US" sz="1000" dirty="0">
              <a:latin typeface="Circular Pro Book"/>
              <a:cs typeface="Circular Pro Book"/>
            </a:endParaRPr>
          </a:p>
        </p:txBody>
      </p:sp>
      <p:sp>
        <p:nvSpPr>
          <p:cNvPr id="7" name="Text Placeholder 2">
            <a:hlinkClick r:id="" action="ppaction://noaction"/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2608813" y="2013123"/>
            <a:ext cx="1815935" cy="272874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438" tIns="71438" rIns="0" bIns="71438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166" indent="-21836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519735" indent="-297765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98395" indent="-176854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6pPr>
            <a:lvl7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7pPr>
            <a:lvl8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8pPr>
            <a:lvl9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805" lvl="1" indent="0" algn="ctr">
              <a:buClr>
                <a:schemeClr val="bg1"/>
              </a:buClr>
              <a:buNone/>
            </a:pPr>
            <a:r>
              <a:rPr lang="en-US" sz="1000" dirty="0" smtClean="0">
                <a:latin typeface="Circular Pro Book"/>
                <a:cs typeface="Circular Pro Book"/>
              </a:rPr>
              <a:t>Belkin Kitchen Stand</a:t>
            </a:r>
            <a:endParaRPr lang="en-US" sz="1000" dirty="0">
              <a:latin typeface="Circular Pro Book"/>
              <a:cs typeface="Circular Pro Book"/>
            </a:endParaRPr>
          </a:p>
        </p:txBody>
      </p:sp>
      <p:sp>
        <p:nvSpPr>
          <p:cNvPr id="8" name="Text Placeholder 2">
            <a:hlinkClick r:id="" action="ppaction://noaction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638424" y="2013123"/>
            <a:ext cx="1819525" cy="272874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438" tIns="71438" rIns="0" bIns="71438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166" indent="-21836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519735" indent="-297765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98395" indent="-176854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6pPr>
            <a:lvl7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7pPr>
            <a:lvl8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8pPr>
            <a:lvl9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805" lvl="1" indent="0" algn="ctr">
              <a:buClr>
                <a:schemeClr val="bg1"/>
              </a:buClr>
              <a:buNone/>
            </a:pPr>
            <a:r>
              <a:rPr lang="en-US" sz="1000" dirty="0" smtClean="0">
                <a:latin typeface="Circular Pro Book"/>
                <a:cs typeface="Circular Pro Book"/>
              </a:rPr>
              <a:t>Lipper Bamboo Folding</a:t>
            </a:r>
            <a:endParaRPr lang="en-US" sz="1000" dirty="0">
              <a:latin typeface="Circular Pro Book"/>
              <a:cs typeface="Circular Pro Book"/>
            </a:endParaRPr>
          </a:p>
        </p:txBody>
      </p:sp>
      <p:sp>
        <p:nvSpPr>
          <p:cNvPr id="9" name="Text Placeholder 2">
            <a:hlinkClick r:id="" action="ppaction://noaction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713323" y="2013123"/>
            <a:ext cx="1810783" cy="272874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438" tIns="71438" rIns="0" bIns="71438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166" indent="-21836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519735" indent="-297765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98395" indent="-176854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6pPr>
            <a:lvl7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7pPr>
            <a:lvl8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8pPr>
            <a:lvl9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805" lvl="1" indent="0" algn="ctr">
              <a:buClr>
                <a:schemeClr val="bg1"/>
              </a:buClr>
              <a:buNone/>
            </a:pPr>
            <a:r>
              <a:rPr lang="en-US" sz="1000" dirty="0" smtClean="0">
                <a:latin typeface="Circular Pro Book"/>
                <a:cs typeface="Circular Pro Book"/>
              </a:rPr>
              <a:t>CTA Digital Bamboo Stand</a:t>
            </a:r>
            <a:endParaRPr lang="en-US" sz="1000" dirty="0">
              <a:latin typeface="Circular Pro Book"/>
              <a:cs typeface="Circular Pro Book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28650" y="2285997"/>
            <a:ext cx="1810783" cy="290658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ircular Pro Book"/>
              <a:cs typeface="Circular Pro Book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613966" y="2285998"/>
            <a:ext cx="1810783" cy="29065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ircular Pro Book"/>
              <a:cs typeface="Circular Pro Book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638425" y="2285997"/>
            <a:ext cx="1810783" cy="290659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ircular Pro Book"/>
              <a:cs typeface="Circular Pro Book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713324" y="2285998"/>
            <a:ext cx="1810783" cy="29065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ircular Pro Book"/>
              <a:cs typeface="Circular Pro Book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8679" y="2423622"/>
            <a:ext cx="1264380" cy="120043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93802" y="2354991"/>
            <a:ext cx="1216880" cy="129671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54693" y="2387943"/>
            <a:ext cx="1160357" cy="122512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899755" y="2423622"/>
            <a:ext cx="1365842" cy="1052447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28650" y="3715259"/>
            <a:ext cx="181078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latin typeface="Circular Pro Book"/>
                <a:cs typeface="Circular Pro Book"/>
              </a:rPr>
              <a:t>Visually unappealing – Lifestyle stands for aesthetically pleas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latin typeface="Circular Pro Book"/>
                <a:cs typeface="Circular Pro Book"/>
              </a:rPr>
              <a:t>Differentiation – Different product needed for different table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latin typeface="Circular Pro Book"/>
                <a:cs typeface="Circular Pro Book"/>
              </a:rPr>
              <a:t>Bundling – We feel like product could be extended further</a:t>
            </a:r>
            <a:endParaRPr lang="en-US" sz="1000" dirty="0">
              <a:latin typeface="Circular Pro Book"/>
              <a:cs typeface="Circular Pro Book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591833" y="3715258"/>
            <a:ext cx="181078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latin typeface="Circular Pro Book"/>
                <a:cs typeface="Circular Pro Book"/>
              </a:rPr>
              <a:t>Versatility – Complicated use of pen and screen still expos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latin typeface="Circular Pro Book"/>
                <a:cs typeface="Circular Pro Book"/>
              </a:rPr>
              <a:t>Issue – The main issue of the screen being exposed is not resolv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latin typeface="Circular Pro Book"/>
                <a:cs typeface="Circular Pro Book"/>
              </a:rPr>
              <a:t>Bundling – We feel like product could be extended further</a:t>
            </a:r>
            <a:endParaRPr lang="en-US" sz="1000" dirty="0">
              <a:latin typeface="Circular Pro Book"/>
              <a:cs typeface="Circular Pro Book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635945" y="3718578"/>
            <a:ext cx="18107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latin typeface="Circular Pro Book"/>
                <a:cs typeface="Circular Pro Book"/>
              </a:rPr>
              <a:t>Issue – The main issue of the screen being exposed is not resolv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latin typeface="Circular Pro Book"/>
                <a:cs typeface="Circular Pro Book"/>
              </a:rPr>
              <a:t>Bundling – We feel like product could be extended further</a:t>
            </a:r>
            <a:endParaRPr lang="en-US" sz="1000" dirty="0">
              <a:latin typeface="Circular Pro Book"/>
              <a:cs typeface="Circular Pro Book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755023" y="3715258"/>
            <a:ext cx="18107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latin typeface="Circular Pro Book"/>
                <a:cs typeface="Circular Pro Book"/>
              </a:rPr>
              <a:t>Issue – Although screen is covered, you cannot navigate recip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latin typeface="Circular Pro Book"/>
                <a:cs typeface="Circular Pro Book"/>
              </a:rPr>
              <a:t>Bundling – We feel like product could be extended further</a:t>
            </a:r>
            <a:endParaRPr lang="en-US" sz="1000" dirty="0">
              <a:latin typeface="Circular Pro Book"/>
              <a:cs typeface="Circular Pro Book"/>
            </a:endParaRPr>
          </a:p>
        </p:txBody>
      </p:sp>
      <p:sp>
        <p:nvSpPr>
          <p:cNvPr id="22" name="Text Placeholder 2">
            <a:hlinkClick r:id="" action="ppaction://noaction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28650" y="5927015"/>
            <a:ext cx="7937156" cy="272874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438" tIns="71438" rIns="0" bIns="71438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166" indent="-21836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519735" indent="-297765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98395" indent="-176854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6pPr>
            <a:lvl7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7pPr>
            <a:lvl8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8pPr>
            <a:lvl9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805" lvl="1" indent="0" algn="ctr">
              <a:buClr>
                <a:schemeClr val="bg1"/>
              </a:buClr>
              <a:buNone/>
            </a:pPr>
            <a:r>
              <a:rPr lang="en-US" sz="1800" dirty="0" smtClean="0">
                <a:latin typeface="Circular Pro Book"/>
                <a:cs typeface="Circular Pro Bold"/>
              </a:rPr>
              <a:t>Unsatisfied Need For Versatile Navigation</a:t>
            </a:r>
            <a:endParaRPr lang="en-US" sz="1800" dirty="0">
              <a:latin typeface="Circular Pro Book"/>
              <a:cs typeface="Circular Pro Bold"/>
            </a:endParaRPr>
          </a:p>
        </p:txBody>
      </p:sp>
      <p:sp>
        <p:nvSpPr>
          <p:cNvPr id="26" name="Right Arrow 25"/>
          <p:cNvSpPr/>
          <p:nvPr/>
        </p:nvSpPr>
        <p:spPr>
          <a:xfrm rot="5400000">
            <a:off x="3203414" y="5435231"/>
            <a:ext cx="722634" cy="280086"/>
          </a:xfrm>
          <a:prstGeom prst="rightArrow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ircular Pro Book"/>
            </a:endParaRPr>
          </a:p>
        </p:txBody>
      </p:sp>
      <p:sp>
        <p:nvSpPr>
          <p:cNvPr id="28" name="Subtitle 2"/>
          <p:cNvSpPr txBox="1">
            <a:spLocks/>
          </p:cNvSpPr>
          <p:nvPr/>
        </p:nvSpPr>
        <p:spPr>
          <a:xfrm>
            <a:off x="0" y="0"/>
            <a:ext cx="9144000" cy="91733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>
                <a:solidFill>
                  <a:srgbClr val="000000"/>
                </a:solidFill>
                <a:latin typeface="Circular Pro Book"/>
                <a:cs typeface="Circular Pro Book"/>
              </a:rPr>
              <a:t> </a:t>
            </a:r>
            <a:r>
              <a:rPr lang="en-US" sz="3600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Current Offerings</a:t>
            </a:r>
            <a:endParaRPr lang="en-US" sz="3600" dirty="0">
              <a:solidFill>
                <a:srgbClr val="000000"/>
              </a:solidFill>
              <a:latin typeface="Circular Pro Book"/>
              <a:cs typeface="Circular Pro Book"/>
            </a:endParaRPr>
          </a:p>
        </p:txBody>
      </p:sp>
      <p:sp>
        <p:nvSpPr>
          <p:cNvPr id="29" name="Right Arrow 28"/>
          <p:cNvSpPr/>
          <p:nvPr/>
        </p:nvSpPr>
        <p:spPr>
          <a:xfrm rot="5400000">
            <a:off x="5172707" y="5435231"/>
            <a:ext cx="722634" cy="280086"/>
          </a:xfrm>
          <a:prstGeom prst="rightArrow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ircular Pro Book"/>
            </a:endParaRPr>
          </a:p>
        </p:txBody>
      </p:sp>
      <p:sp>
        <p:nvSpPr>
          <p:cNvPr id="31" name="Right Arrow 30"/>
          <p:cNvSpPr/>
          <p:nvPr/>
        </p:nvSpPr>
        <p:spPr>
          <a:xfrm rot="5400000">
            <a:off x="1262824" y="5435231"/>
            <a:ext cx="722634" cy="280086"/>
          </a:xfrm>
          <a:prstGeom prst="rightArrow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ircular Pro Book"/>
            </a:endParaRPr>
          </a:p>
        </p:txBody>
      </p:sp>
      <p:sp>
        <p:nvSpPr>
          <p:cNvPr id="32" name="Right Arrow 31"/>
          <p:cNvSpPr/>
          <p:nvPr/>
        </p:nvSpPr>
        <p:spPr>
          <a:xfrm rot="5400000">
            <a:off x="7158541" y="5425655"/>
            <a:ext cx="722634" cy="280086"/>
          </a:xfrm>
          <a:prstGeom prst="rightArrow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ircular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3234036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nhaltsplatzhalter 7" descr="chef-sleeve-header-100023959-large.jpg"/>
          <p:cNvPicPr>
            <a:picLocks noGrp="1" noChangeAspect="1"/>
          </p:cNvPicPr>
          <p:nvPr>
            <p:ph sz="half" idx="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10" r="19350"/>
          <a:stretch/>
        </p:blipFill>
        <p:spPr>
          <a:xfrm>
            <a:off x="4495800" y="2112964"/>
            <a:ext cx="4495800" cy="3538537"/>
          </a:xfrm>
        </p:spPr>
      </p:pic>
      <p:sp>
        <p:nvSpPr>
          <p:cNvPr id="6" name="Textfeld 5"/>
          <p:cNvSpPr txBox="1"/>
          <p:nvPr/>
        </p:nvSpPr>
        <p:spPr>
          <a:xfrm>
            <a:off x="4971783" y="2798126"/>
            <a:ext cx="2039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Circular Pro Book"/>
                <a:cs typeface="Circular Pro Bold"/>
              </a:rPr>
              <a:t>Chef Sleeve </a:t>
            </a:r>
          </a:p>
        </p:txBody>
      </p:sp>
      <p:graphicFrame>
        <p:nvGraphicFramePr>
          <p:cNvPr id="3" name="Inhaltsplatzhalter 2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583231588"/>
              </p:ext>
            </p:extLst>
          </p:nvPr>
        </p:nvGraphicFramePr>
        <p:xfrm>
          <a:off x="216759" y="2340418"/>
          <a:ext cx="4038600" cy="42133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7" name="Subtitle 2"/>
          <p:cNvSpPr txBox="1">
            <a:spLocks/>
          </p:cNvSpPr>
          <p:nvPr/>
        </p:nvSpPr>
        <p:spPr>
          <a:xfrm>
            <a:off x="0" y="0"/>
            <a:ext cx="9144000" cy="91733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 Best Existing Solution</a:t>
            </a:r>
            <a:endParaRPr lang="en-US" sz="3600" dirty="0">
              <a:solidFill>
                <a:srgbClr val="000000"/>
              </a:solidFill>
              <a:latin typeface="Circular Pro Book"/>
              <a:cs typeface="Circular Pro Book"/>
            </a:endParaRPr>
          </a:p>
        </p:txBody>
      </p:sp>
      <p:graphicFrame>
        <p:nvGraphicFramePr>
          <p:cNvPr id="5" name="Diagramm 4"/>
          <p:cNvGraphicFramePr/>
          <p:nvPr>
            <p:extLst>
              <p:ext uri="{D42A27DB-BD31-4B8C-83A1-F6EECF244321}">
                <p14:modId xmlns:p14="http://schemas.microsoft.com/office/powerpoint/2010/main" val="2099364438"/>
              </p:ext>
            </p:extLst>
          </p:nvPr>
        </p:nvGraphicFramePr>
        <p:xfrm>
          <a:off x="246278" y="2105653"/>
          <a:ext cx="3993451" cy="7704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188256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latin typeface="Circular Pro Book"/>
              </a:rPr>
              <a:t>Title of presentation</a:t>
            </a:r>
            <a:endParaRPr lang="en-US">
              <a:latin typeface="Circular Pro Book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>
                <a:latin typeface="Circular Pro Book"/>
              </a:rPr>
              <a:t>18</a:t>
            </a:fld>
            <a:endParaRPr lang="en-US">
              <a:latin typeface="Circular Pro Book"/>
            </a:endParaRPr>
          </a:p>
        </p:txBody>
      </p:sp>
      <p:sp>
        <p:nvSpPr>
          <p:cNvPr id="7" name="Subtitle 2"/>
          <p:cNvSpPr txBox="1">
            <a:spLocks/>
          </p:cNvSpPr>
          <p:nvPr/>
        </p:nvSpPr>
        <p:spPr>
          <a:xfrm>
            <a:off x="0" y="0"/>
            <a:ext cx="9144000" cy="91733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>
                <a:solidFill>
                  <a:srgbClr val="000000"/>
                </a:solidFill>
                <a:latin typeface="Circular Pro Book"/>
                <a:cs typeface="Circular Pro Book"/>
              </a:rPr>
              <a:t> </a:t>
            </a:r>
            <a:r>
              <a:rPr lang="en-US" sz="3600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Templates Applied</a:t>
            </a:r>
            <a:endParaRPr lang="en-US" sz="3000" dirty="0">
              <a:solidFill>
                <a:srgbClr val="000000"/>
              </a:solidFill>
              <a:latin typeface="Circular Pro Book"/>
              <a:cs typeface="Circular Pro Book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2798779" y="1426425"/>
            <a:ext cx="3316271" cy="758570"/>
          </a:xfrm>
          <a:prstGeom prst="roundRect">
            <a:avLst/>
          </a:prstGeom>
          <a:solidFill>
            <a:schemeClr val="tx2">
              <a:lumMod val="75000"/>
              <a:alpha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Circular Pro Book"/>
                <a:cs typeface="Circular Pro Book"/>
              </a:rPr>
              <a:t>Attribute Dependency</a:t>
            </a:r>
            <a:endParaRPr lang="en-US" dirty="0">
              <a:latin typeface="Circular Pro Book"/>
              <a:cs typeface="Circular Pro Book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2798779" y="2220277"/>
            <a:ext cx="3316271" cy="758570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Circular Pro Book"/>
                <a:cs typeface="Circular Pro Book"/>
              </a:rPr>
              <a:t>Replacement</a:t>
            </a:r>
            <a:endParaRPr lang="en-US" dirty="0">
              <a:latin typeface="Circular Pro Book"/>
              <a:cs typeface="Circular Pro Book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2798779" y="3014129"/>
            <a:ext cx="3316271" cy="758570"/>
          </a:xfrm>
          <a:prstGeom prst="roundRect">
            <a:avLst/>
          </a:prstGeom>
          <a:solidFill>
            <a:schemeClr val="tx2">
              <a:lumMod val="75000"/>
              <a:alpha val="14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ircular Pro Book"/>
                <a:cs typeface="Circular Pro Book"/>
              </a:rPr>
              <a:t>Subtraction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2798779" y="3807981"/>
            <a:ext cx="3316271" cy="758570"/>
          </a:xfrm>
          <a:prstGeom prst="roundRect">
            <a:avLst/>
          </a:prstGeom>
          <a:solidFill>
            <a:schemeClr val="tx2">
              <a:lumMod val="75000"/>
              <a:alpha val="14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ircular Pro Book"/>
                <a:cs typeface="Circular Pro Book"/>
              </a:rPr>
              <a:t>Multiplicatio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2798779" y="4602837"/>
            <a:ext cx="3316271" cy="758570"/>
          </a:xfrm>
          <a:prstGeom prst="roundRect">
            <a:avLst/>
          </a:prstGeom>
          <a:solidFill>
            <a:schemeClr val="tx2">
              <a:lumMod val="75000"/>
              <a:alpha val="14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Circular Pro Book"/>
                <a:cs typeface="Circular Pro Book"/>
              </a:rPr>
              <a:t>Division</a:t>
            </a:r>
            <a:endParaRPr lang="en-US" dirty="0">
              <a:latin typeface="Circular Pro Book"/>
              <a:cs typeface="Circular Pro Book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798779" y="5397693"/>
            <a:ext cx="3316271" cy="758570"/>
          </a:xfrm>
          <a:prstGeom prst="roundRect">
            <a:avLst/>
          </a:prstGeom>
          <a:solidFill>
            <a:schemeClr val="tx2">
              <a:lumMod val="75000"/>
              <a:alpha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Circular Pro Book"/>
                <a:cs typeface="Circular Pro Book"/>
              </a:rPr>
              <a:t>Task Unification</a:t>
            </a:r>
            <a:endParaRPr lang="en-US" dirty="0">
              <a:latin typeface="Circular Pro Book"/>
              <a:cs typeface="Circular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1960299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>
                <a:latin typeface="Circular Pro Book"/>
              </a:rPr>
              <a:t>19</a:t>
            </a:fld>
            <a:endParaRPr lang="en-US">
              <a:latin typeface="Circular Pro Book"/>
            </a:endParaRPr>
          </a:p>
        </p:txBody>
      </p:sp>
      <p:sp>
        <p:nvSpPr>
          <p:cNvPr id="7" name="Subtitle 2"/>
          <p:cNvSpPr txBox="1">
            <a:spLocks/>
          </p:cNvSpPr>
          <p:nvPr/>
        </p:nvSpPr>
        <p:spPr>
          <a:xfrm>
            <a:off x="0" y="0"/>
            <a:ext cx="9144000" cy="91733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>
                <a:solidFill>
                  <a:srgbClr val="000000"/>
                </a:solidFill>
                <a:latin typeface="Circular Pro Book"/>
                <a:cs typeface="Circular Pro Book"/>
              </a:rPr>
              <a:t> </a:t>
            </a:r>
            <a:r>
              <a:rPr lang="en-US" sz="3600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Product Configuration</a:t>
            </a:r>
            <a:endParaRPr lang="en-US" sz="3600" dirty="0">
              <a:solidFill>
                <a:srgbClr val="000000"/>
              </a:solidFill>
              <a:latin typeface="Circular Pro Book"/>
              <a:cs typeface="Circular Pro Book"/>
            </a:endParaRPr>
          </a:p>
        </p:txBody>
      </p:sp>
      <p:pic>
        <p:nvPicPr>
          <p:cNvPr id="8" name="Picture 7" descr="La-Vita-Stainless-Steel-Cooking-Pot-30cm-mnbetak-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9573" y="4163161"/>
            <a:ext cx="2241267" cy="2241267"/>
          </a:xfrm>
          <a:prstGeom prst="rect">
            <a:avLst/>
          </a:prstGeom>
        </p:spPr>
      </p:pic>
      <p:pic>
        <p:nvPicPr>
          <p:cNvPr id="9" name="Picture 8" descr="tomato-isp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2286" y="4603545"/>
            <a:ext cx="1617511" cy="1523696"/>
          </a:xfrm>
          <a:prstGeom prst="rect">
            <a:avLst/>
          </a:prstGeom>
        </p:spPr>
      </p:pic>
      <p:sp>
        <p:nvSpPr>
          <p:cNvPr id="11" name="Shape 65"/>
          <p:cNvSpPr/>
          <p:nvPr/>
        </p:nvSpPr>
        <p:spPr>
          <a:xfrm>
            <a:off x="5253304" y="5270598"/>
            <a:ext cx="1067199" cy="2695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6789" tIns="26789" rIns="26789" bIns="26789" anchor="ctr">
            <a:spAutoFit/>
          </a:bodyPr>
          <a:lstStyle>
            <a:lvl1pPr>
              <a:defRPr sz="4000"/>
            </a:lvl1pPr>
          </a:lstStyle>
          <a:p>
            <a:pPr lvl="0">
              <a:defRPr sz="1800"/>
            </a:pPr>
            <a:r>
              <a:rPr sz="1400" b="1" dirty="0">
                <a:latin typeface="Circular Pro Book"/>
              </a:rPr>
              <a:t>Ingredients </a:t>
            </a:r>
          </a:p>
        </p:txBody>
      </p:sp>
      <p:sp>
        <p:nvSpPr>
          <p:cNvPr id="12" name="Shape 66"/>
          <p:cNvSpPr/>
          <p:nvPr/>
        </p:nvSpPr>
        <p:spPr>
          <a:xfrm>
            <a:off x="2286629" y="5270598"/>
            <a:ext cx="1264850" cy="4542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6789" tIns="26789" rIns="26789" bIns="26789" anchor="ctr">
            <a:spAutoFit/>
          </a:bodyPr>
          <a:lstStyle/>
          <a:p>
            <a:pPr lvl="0" algn="ctr">
              <a:defRPr sz="1800"/>
            </a:pPr>
            <a:r>
              <a:rPr lang="en-US" sz="1300" b="1" dirty="0">
                <a:latin typeface="Circular Pro Book"/>
              </a:rPr>
              <a:t>C</a:t>
            </a:r>
            <a:r>
              <a:rPr sz="1300" b="1" dirty="0">
                <a:latin typeface="Circular Pro Book"/>
              </a:rPr>
              <a:t>ookware, </a:t>
            </a:r>
            <a:r>
              <a:rPr lang="en-US" sz="1300" b="1" dirty="0" smtClean="0">
                <a:latin typeface="Circular Pro Book"/>
              </a:rPr>
              <a:t>cutlery, </a:t>
            </a:r>
            <a:r>
              <a:rPr lang="en-US" sz="1300" b="1" dirty="0">
                <a:latin typeface="Circular Pro Book"/>
              </a:rPr>
              <a:t>etc.</a:t>
            </a:r>
            <a:endParaRPr sz="1300" b="1" dirty="0">
              <a:latin typeface="Circular Pro Book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1198815" y="3243101"/>
            <a:ext cx="917436" cy="1154950"/>
            <a:chOff x="1868378" y="2063912"/>
            <a:chExt cx="917436" cy="1154950"/>
          </a:xfrm>
        </p:grpSpPr>
        <p:pic>
          <p:nvPicPr>
            <p:cNvPr id="14" name="Picture 13" descr="sad-girl-stick-figure-image.jp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68378" y="2063912"/>
              <a:ext cx="917436" cy="1012483"/>
            </a:xfrm>
            <a:prstGeom prst="rect">
              <a:avLst/>
            </a:prstGeom>
          </p:spPr>
        </p:pic>
        <p:sp>
          <p:nvSpPr>
            <p:cNvPr id="15" name="Shape 67"/>
            <p:cNvSpPr/>
            <p:nvPr/>
          </p:nvSpPr>
          <p:spPr>
            <a:xfrm>
              <a:off x="1926393" y="2933928"/>
              <a:ext cx="813925" cy="28493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none" lIns="26789" tIns="26789" rIns="26789" bIns="26789" anchor="ctr">
              <a:spAutoFit/>
            </a:bodyPr>
            <a:lstStyle>
              <a:lvl1pPr>
                <a:defRPr sz="4000"/>
              </a:lvl1pPr>
            </a:lstStyle>
            <a:p>
              <a:pPr lvl="0">
                <a:defRPr sz="1800"/>
              </a:pPr>
              <a:r>
                <a:rPr sz="1500" b="1" dirty="0">
                  <a:latin typeface="Circular Pro Book"/>
                </a:rPr>
                <a:t>Humans</a:t>
              </a:r>
            </a:p>
          </p:txBody>
        </p:sp>
      </p:grpSp>
      <p:cxnSp>
        <p:nvCxnSpPr>
          <p:cNvPr id="16" name="Gerade Verbindung mit Pfeil 6"/>
          <p:cNvCxnSpPr/>
          <p:nvPr/>
        </p:nvCxnSpPr>
        <p:spPr>
          <a:xfrm flipH="1">
            <a:off x="4952285" y="1910666"/>
            <a:ext cx="1035286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20"/>
          <p:cNvCxnSpPr/>
          <p:nvPr/>
        </p:nvCxnSpPr>
        <p:spPr>
          <a:xfrm flipV="1">
            <a:off x="2286628" y="2720809"/>
            <a:ext cx="1173051" cy="659584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29"/>
          <p:cNvCxnSpPr/>
          <p:nvPr/>
        </p:nvCxnSpPr>
        <p:spPr>
          <a:xfrm>
            <a:off x="2286628" y="3980077"/>
            <a:ext cx="3507079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32"/>
          <p:cNvCxnSpPr/>
          <p:nvPr/>
        </p:nvCxnSpPr>
        <p:spPr>
          <a:xfrm>
            <a:off x="1657533" y="4398051"/>
            <a:ext cx="324078" cy="420024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36"/>
          <p:cNvCxnSpPr/>
          <p:nvPr/>
        </p:nvCxnSpPr>
        <p:spPr>
          <a:xfrm>
            <a:off x="3932667" y="5475236"/>
            <a:ext cx="1119756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39"/>
          <p:cNvCxnSpPr/>
          <p:nvPr/>
        </p:nvCxnSpPr>
        <p:spPr>
          <a:xfrm flipH="1">
            <a:off x="6263958" y="4398051"/>
            <a:ext cx="464170" cy="579192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2" name="Shape 63"/>
          <p:cNvSpPr/>
          <p:nvPr/>
        </p:nvSpPr>
        <p:spPr>
          <a:xfrm>
            <a:off x="6728129" y="1835798"/>
            <a:ext cx="515766" cy="28493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6789" tIns="26789" rIns="26789" bIns="26789" anchor="ctr">
            <a:spAutoFit/>
          </a:bodyPr>
          <a:lstStyle>
            <a:lvl1pPr>
              <a:defRPr sz="4000"/>
            </a:lvl1pPr>
          </a:lstStyle>
          <a:p>
            <a:pPr lvl="0">
              <a:defRPr sz="1800"/>
            </a:pPr>
            <a:r>
              <a:rPr lang="en-US" sz="1500" b="1" dirty="0">
                <a:latin typeface="Circular Pro Book"/>
              </a:rPr>
              <a:t>Case</a:t>
            </a:r>
            <a:endParaRPr sz="1500" b="1" dirty="0">
              <a:latin typeface="Circular Pro Book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6240720" y="3380393"/>
            <a:ext cx="1656200" cy="1017658"/>
            <a:chOff x="6305091" y="2194432"/>
            <a:chExt cx="1260353" cy="835948"/>
          </a:xfrm>
        </p:grpSpPr>
        <p:pic>
          <p:nvPicPr>
            <p:cNvPr id="24" name="Picture 23" descr="3434.large.jp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5091" y="2194432"/>
              <a:ext cx="1260353" cy="835948"/>
            </a:xfrm>
            <a:prstGeom prst="rect">
              <a:avLst/>
            </a:prstGeom>
          </p:spPr>
        </p:pic>
        <p:sp>
          <p:nvSpPr>
            <p:cNvPr id="25" name="Shape 64"/>
            <p:cNvSpPr/>
            <p:nvPr/>
          </p:nvSpPr>
          <p:spPr>
            <a:xfrm>
              <a:off x="6681457" y="2383130"/>
              <a:ext cx="592552" cy="42367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none" lIns="26789" tIns="26789" rIns="26789" bIns="26789" anchor="ctr">
              <a:spAutoFit/>
            </a:bodyPr>
            <a:lstStyle>
              <a:lvl1pPr>
                <a:defRPr sz="4000"/>
              </a:lvl1pPr>
            </a:lstStyle>
            <a:p>
              <a:pPr lvl="0" algn="ctr">
                <a:defRPr sz="1800"/>
              </a:pPr>
              <a:r>
                <a:rPr sz="1500" b="1" dirty="0">
                  <a:latin typeface="Circular Pro Book"/>
                </a:rPr>
                <a:t>Cutting </a:t>
              </a:r>
              <a:endParaRPr lang="en-US" sz="1500" b="1" dirty="0">
                <a:latin typeface="Circular Pro Book"/>
              </a:endParaRPr>
            </a:p>
            <a:p>
              <a:pPr lvl="0" algn="ctr">
                <a:defRPr sz="1800"/>
              </a:pPr>
              <a:r>
                <a:rPr sz="1500" b="1" dirty="0">
                  <a:latin typeface="Circular Pro Book"/>
                </a:rPr>
                <a:t>board</a:t>
              </a:r>
            </a:p>
          </p:txBody>
        </p:sp>
      </p:grpSp>
      <p:sp>
        <p:nvSpPr>
          <p:cNvPr id="26" name="Shape 62"/>
          <p:cNvSpPr/>
          <p:nvPr/>
        </p:nvSpPr>
        <p:spPr>
          <a:xfrm>
            <a:off x="4004938" y="1856525"/>
            <a:ext cx="605662" cy="28493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6789" tIns="26789" rIns="26789" bIns="26789" anchor="ctr">
            <a:spAutoFit/>
          </a:bodyPr>
          <a:lstStyle>
            <a:lvl1pPr>
              <a:defRPr sz="4000"/>
            </a:lvl1pPr>
          </a:lstStyle>
          <a:p>
            <a:pPr lvl="0">
              <a:defRPr sz="1800"/>
            </a:pPr>
            <a:r>
              <a:rPr sz="1500" b="1" dirty="0">
                <a:solidFill>
                  <a:schemeClr val="bg1"/>
                </a:solidFill>
                <a:latin typeface="Circular Pro Book"/>
              </a:rPr>
              <a:t>Tablet</a:t>
            </a:r>
          </a:p>
        </p:txBody>
      </p:sp>
      <p:pic>
        <p:nvPicPr>
          <p:cNvPr id="27" name="Picture 26" descr="tablet_PNG8576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7784" y="1582124"/>
            <a:ext cx="1492607" cy="1023071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3520956" y="1685877"/>
            <a:ext cx="133119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dirty="0" smtClean="0">
                <a:latin typeface="Circular Pro Book"/>
              </a:rPr>
              <a:t>Tablet/ smartphone</a:t>
            </a:r>
            <a:endParaRPr lang="en-US" sz="1500" dirty="0">
              <a:latin typeface="Circular Pro Book"/>
            </a:endParaRPr>
          </a:p>
        </p:txBody>
      </p:sp>
      <p:cxnSp>
        <p:nvCxnSpPr>
          <p:cNvPr id="29" name="Gerade Verbindung mit Pfeil 6"/>
          <p:cNvCxnSpPr/>
          <p:nvPr/>
        </p:nvCxnSpPr>
        <p:spPr>
          <a:xfrm>
            <a:off x="5052423" y="2141459"/>
            <a:ext cx="1035976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3" name="Bild 2" descr="cd_dvd_plastic_sleve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2463" y="1106242"/>
            <a:ext cx="1249873" cy="1249873"/>
          </a:xfrm>
          <a:prstGeom prst="rect">
            <a:avLst/>
          </a:prstGeom>
        </p:spPr>
      </p:pic>
      <p:sp>
        <p:nvSpPr>
          <p:cNvPr id="32" name="TextBox 27"/>
          <p:cNvSpPr txBox="1"/>
          <p:nvPr/>
        </p:nvSpPr>
        <p:spPr>
          <a:xfrm>
            <a:off x="6180056" y="1741389"/>
            <a:ext cx="15536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latin typeface="Circular Pro Book"/>
              </a:rPr>
              <a:t>Plastic Sleeve</a:t>
            </a:r>
            <a:endParaRPr lang="en-US" sz="1600" b="1" dirty="0">
              <a:latin typeface="Circular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2965949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587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3"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35872" y="1402"/>
                        <a:ext cx="1400" cy="1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134470" y="0"/>
            <a:ext cx="140074" cy="1400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12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ext Placeholder 2">
            <a:hlinkClick r:id="" action="ppaction://noaction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742357" y="2236790"/>
            <a:ext cx="3622581" cy="581301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438" tIns="71438" rIns="0" bIns="71438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166" indent="-21836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519735" indent="-297765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98395" indent="-176854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6pPr>
            <a:lvl7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7pPr>
            <a:lvl8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8pPr>
            <a:lvl9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1800" dirty="0" smtClean="0">
                <a:solidFill>
                  <a:schemeClr val="bg1"/>
                </a:solidFill>
                <a:latin typeface="Circular Pro Book"/>
                <a:cs typeface="Circular Pro Book"/>
              </a:rPr>
              <a:t>Concept</a:t>
            </a:r>
            <a:endParaRPr lang="en-US" sz="1800" dirty="0">
              <a:solidFill>
                <a:schemeClr val="bg1"/>
              </a:solidFill>
              <a:latin typeface="Circular Pro Book"/>
              <a:cs typeface="Circular Pro Book"/>
            </a:endParaRPr>
          </a:p>
        </p:txBody>
      </p:sp>
      <p:sp>
        <p:nvSpPr>
          <p:cNvPr id="14" name="Text Placeholder 2">
            <a:hlinkClick r:id="" action="ppaction://noaction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742357" y="2889719"/>
            <a:ext cx="3622581" cy="583572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438" tIns="72838" rIns="0" bIns="71438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166" indent="-21836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519735" indent="-297765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98395" indent="-176854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6pPr>
            <a:lvl7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7pPr>
            <a:lvl8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8pPr>
            <a:lvl9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1800" dirty="0" smtClean="0">
                <a:solidFill>
                  <a:schemeClr val="bg1"/>
                </a:solidFill>
                <a:latin typeface="Circular Pro Book"/>
                <a:cs typeface="Circular Pro Book"/>
              </a:rPr>
              <a:t>Ideation Process </a:t>
            </a:r>
            <a:endParaRPr lang="en-US" sz="1800" dirty="0">
              <a:solidFill>
                <a:schemeClr val="bg1"/>
              </a:solidFill>
              <a:latin typeface="Circular Pro Book"/>
              <a:cs typeface="Circular Pro Book"/>
            </a:endParaRPr>
          </a:p>
        </p:txBody>
      </p:sp>
      <p:sp>
        <p:nvSpPr>
          <p:cNvPr id="17" name="Text Placeholder 2">
            <a:hlinkClick r:id="" action="ppaction://noaction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742358" y="3558660"/>
            <a:ext cx="3622581" cy="581301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438" tIns="71438" rIns="0" bIns="71438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166" indent="-21836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519735" indent="-297765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98395" indent="-176854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6pPr>
            <a:lvl7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7pPr>
            <a:lvl8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8pPr>
            <a:lvl9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1800" dirty="0" smtClean="0">
                <a:solidFill>
                  <a:schemeClr val="bg1"/>
                </a:solidFill>
                <a:latin typeface="Circular Pro Book"/>
                <a:cs typeface="Circular Pro Book"/>
              </a:rPr>
              <a:t>Product Extensions</a:t>
            </a:r>
            <a:endParaRPr lang="en-US" sz="1800" dirty="0">
              <a:solidFill>
                <a:schemeClr val="bg1"/>
              </a:solidFill>
              <a:latin typeface="Circular Pro Book"/>
              <a:cs typeface="Circular Pro Book"/>
            </a:endParaRPr>
          </a:p>
        </p:txBody>
      </p:sp>
      <p:sp>
        <p:nvSpPr>
          <p:cNvPr id="20" name="Text Placeholder 2">
            <a:hlinkClick r:id="" action="ppaction://noaction"/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742356" y="1561838"/>
            <a:ext cx="3622581" cy="581301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438" tIns="71438" rIns="0" bIns="71438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166" indent="-21836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519735" indent="-297765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98395" indent="-176854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6pPr>
            <a:lvl7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7pPr>
            <a:lvl8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8pPr>
            <a:lvl9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1800" dirty="0" smtClean="0">
                <a:solidFill>
                  <a:schemeClr val="bg1"/>
                </a:solidFill>
                <a:latin typeface="Circular Pro Book"/>
                <a:cs typeface="Circular Pro Book"/>
              </a:rPr>
              <a:t>Context</a:t>
            </a:r>
            <a:endParaRPr lang="en-US" sz="1800" dirty="0">
              <a:solidFill>
                <a:schemeClr val="bg1"/>
              </a:solidFill>
              <a:latin typeface="Circular Pro Book"/>
              <a:cs typeface="Circular Pro Book"/>
            </a:endParaRPr>
          </a:p>
        </p:txBody>
      </p:sp>
      <p:sp>
        <p:nvSpPr>
          <p:cNvPr id="11" name="Text Placeholder 2">
            <a:hlinkClick r:id="" action="ppaction://noaction"/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742358" y="4225989"/>
            <a:ext cx="3622581" cy="581301"/>
          </a:xfrm>
          <a:prstGeom prst="rect">
            <a:avLst/>
          </a:prstGeom>
          <a:solidFill>
            <a:schemeClr val="tx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438" tIns="71438" rIns="0" bIns="71438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0166" indent="-21836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519735" indent="-297765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98395" indent="-176854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6pPr>
            <a:lvl7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7pPr>
            <a:lvl8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8pPr>
            <a:lvl9pPr marL="852366" indent="-147981" algn="l" defTabSz="101781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en-US" sz="1800" dirty="0" smtClean="0">
                <a:solidFill>
                  <a:schemeClr val="bg1"/>
                </a:solidFill>
                <a:latin typeface="Circular Pro Book"/>
                <a:cs typeface="Circular Pro Book"/>
              </a:rPr>
              <a:t>Advertisements</a:t>
            </a:r>
            <a:endParaRPr lang="en-US" sz="1800" dirty="0">
              <a:solidFill>
                <a:schemeClr val="bg1"/>
              </a:solidFill>
              <a:latin typeface="Circular Pro Book"/>
              <a:cs typeface="Circular Pro Book"/>
            </a:endParaRPr>
          </a:p>
        </p:txBody>
      </p:sp>
      <p:sp>
        <p:nvSpPr>
          <p:cNvPr id="12" name="Subtitle 2"/>
          <p:cNvSpPr txBox="1">
            <a:spLocks/>
          </p:cNvSpPr>
          <p:nvPr/>
        </p:nvSpPr>
        <p:spPr>
          <a:xfrm>
            <a:off x="0" y="0"/>
            <a:ext cx="9144000" cy="91733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 Agenda</a:t>
            </a:r>
            <a:endParaRPr lang="en-US" sz="3600" dirty="0">
              <a:solidFill>
                <a:srgbClr val="000000"/>
              </a:solidFill>
              <a:latin typeface="Circular Pro Book"/>
              <a:cs typeface="Circular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917721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>
                <a:latin typeface="Circular Pro Book"/>
              </a:rPr>
              <a:t>20</a:t>
            </a:fld>
            <a:endParaRPr lang="en-US">
              <a:latin typeface="Circular Pro Book"/>
            </a:endParaRPr>
          </a:p>
        </p:txBody>
      </p:sp>
      <p:sp>
        <p:nvSpPr>
          <p:cNvPr id="7" name="Subtitle 2"/>
          <p:cNvSpPr txBox="1">
            <a:spLocks/>
          </p:cNvSpPr>
          <p:nvPr/>
        </p:nvSpPr>
        <p:spPr>
          <a:xfrm>
            <a:off x="0" y="0"/>
            <a:ext cx="9144000" cy="91733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>
                <a:solidFill>
                  <a:srgbClr val="000000"/>
                </a:solidFill>
                <a:latin typeface="Circular Pro Book"/>
                <a:cs typeface="Circular Pro Book"/>
              </a:rPr>
              <a:t> </a:t>
            </a:r>
            <a:r>
              <a:rPr lang="en-US" sz="3600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Product Configuration</a:t>
            </a:r>
            <a:endParaRPr lang="en-US" sz="3600" dirty="0">
              <a:solidFill>
                <a:srgbClr val="000000"/>
              </a:solidFill>
              <a:latin typeface="Circular Pro Book"/>
              <a:cs typeface="Circular Pro Book"/>
            </a:endParaRPr>
          </a:p>
        </p:txBody>
      </p:sp>
      <p:pic>
        <p:nvPicPr>
          <p:cNvPr id="8" name="Picture 7" descr="La-Vita-Stainless-Steel-Cooking-Pot-30cm-mnbetak-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9573" y="4163161"/>
            <a:ext cx="2241267" cy="2241267"/>
          </a:xfrm>
          <a:prstGeom prst="rect">
            <a:avLst/>
          </a:prstGeom>
        </p:spPr>
      </p:pic>
      <p:pic>
        <p:nvPicPr>
          <p:cNvPr id="9" name="Picture 8" descr="tomato-isp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2286" y="4603545"/>
            <a:ext cx="1617511" cy="1523696"/>
          </a:xfrm>
          <a:prstGeom prst="rect">
            <a:avLst/>
          </a:prstGeom>
        </p:spPr>
      </p:pic>
      <p:pic>
        <p:nvPicPr>
          <p:cNvPr id="10" name="Picture 9" descr="original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721" y="1417077"/>
            <a:ext cx="1537211" cy="987178"/>
          </a:xfrm>
          <a:prstGeom prst="rect">
            <a:avLst/>
          </a:prstGeom>
        </p:spPr>
      </p:pic>
      <p:sp>
        <p:nvSpPr>
          <p:cNvPr id="11" name="Shape 65"/>
          <p:cNvSpPr/>
          <p:nvPr/>
        </p:nvSpPr>
        <p:spPr>
          <a:xfrm>
            <a:off x="5253304" y="5270598"/>
            <a:ext cx="1067199" cy="2695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6789" tIns="26789" rIns="26789" bIns="26789" anchor="ctr">
            <a:spAutoFit/>
          </a:bodyPr>
          <a:lstStyle>
            <a:lvl1pPr>
              <a:defRPr sz="4000"/>
            </a:lvl1pPr>
          </a:lstStyle>
          <a:p>
            <a:pPr lvl="0">
              <a:defRPr sz="1800"/>
            </a:pPr>
            <a:r>
              <a:rPr sz="1400" b="1" dirty="0">
                <a:latin typeface="Circular Pro Book"/>
              </a:rPr>
              <a:t>Ingredients </a:t>
            </a:r>
          </a:p>
        </p:txBody>
      </p:sp>
      <p:sp>
        <p:nvSpPr>
          <p:cNvPr id="12" name="Shape 66"/>
          <p:cNvSpPr/>
          <p:nvPr/>
        </p:nvSpPr>
        <p:spPr>
          <a:xfrm>
            <a:off x="2286629" y="5270598"/>
            <a:ext cx="1264850" cy="4542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6789" tIns="26789" rIns="26789" bIns="26789" anchor="ctr">
            <a:spAutoFit/>
          </a:bodyPr>
          <a:lstStyle/>
          <a:p>
            <a:pPr lvl="0" algn="ctr">
              <a:defRPr sz="1800"/>
            </a:pPr>
            <a:r>
              <a:rPr lang="en-US" sz="1300" b="1" dirty="0">
                <a:latin typeface="Circular Pro Book"/>
              </a:rPr>
              <a:t>C</a:t>
            </a:r>
            <a:r>
              <a:rPr sz="1300" b="1" dirty="0">
                <a:latin typeface="Circular Pro Book"/>
              </a:rPr>
              <a:t>ookware, </a:t>
            </a:r>
            <a:r>
              <a:rPr lang="en-US" sz="1300" b="1" dirty="0" smtClean="0">
                <a:latin typeface="Circular Pro Book"/>
              </a:rPr>
              <a:t>cutlery, </a:t>
            </a:r>
            <a:r>
              <a:rPr lang="en-US" sz="1300" b="1" dirty="0">
                <a:latin typeface="Circular Pro Book"/>
              </a:rPr>
              <a:t>etc.</a:t>
            </a:r>
            <a:endParaRPr sz="1300" b="1" dirty="0">
              <a:latin typeface="Circular Pro Book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1198815" y="3243101"/>
            <a:ext cx="917436" cy="1154950"/>
            <a:chOff x="1868378" y="2063912"/>
            <a:chExt cx="917436" cy="1154950"/>
          </a:xfrm>
        </p:grpSpPr>
        <p:pic>
          <p:nvPicPr>
            <p:cNvPr id="14" name="Picture 13" descr="sad-girl-stick-figure-image.jp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68378" y="2063912"/>
              <a:ext cx="917436" cy="1012483"/>
            </a:xfrm>
            <a:prstGeom prst="rect">
              <a:avLst/>
            </a:prstGeom>
          </p:spPr>
        </p:pic>
        <p:sp>
          <p:nvSpPr>
            <p:cNvPr id="15" name="Shape 67"/>
            <p:cNvSpPr/>
            <p:nvPr/>
          </p:nvSpPr>
          <p:spPr>
            <a:xfrm>
              <a:off x="1926393" y="2933928"/>
              <a:ext cx="813925" cy="28493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none" lIns="26789" tIns="26789" rIns="26789" bIns="26789" anchor="ctr">
              <a:spAutoFit/>
            </a:bodyPr>
            <a:lstStyle>
              <a:lvl1pPr>
                <a:defRPr sz="4000"/>
              </a:lvl1pPr>
            </a:lstStyle>
            <a:p>
              <a:pPr lvl="0">
                <a:defRPr sz="1800"/>
              </a:pPr>
              <a:r>
                <a:rPr sz="1500" b="1" dirty="0">
                  <a:latin typeface="Circular Pro Book"/>
                </a:rPr>
                <a:t>Humans</a:t>
              </a:r>
            </a:p>
          </p:txBody>
        </p:sp>
      </p:grpSp>
      <p:cxnSp>
        <p:nvCxnSpPr>
          <p:cNvPr id="16" name="Gerade Verbindung mit Pfeil 6"/>
          <p:cNvCxnSpPr/>
          <p:nvPr/>
        </p:nvCxnSpPr>
        <p:spPr>
          <a:xfrm flipH="1">
            <a:off x="4952285" y="1910666"/>
            <a:ext cx="1035286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20"/>
          <p:cNvCxnSpPr/>
          <p:nvPr/>
        </p:nvCxnSpPr>
        <p:spPr>
          <a:xfrm flipV="1">
            <a:off x="2286628" y="2720809"/>
            <a:ext cx="1173051" cy="659584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29"/>
          <p:cNvCxnSpPr/>
          <p:nvPr/>
        </p:nvCxnSpPr>
        <p:spPr>
          <a:xfrm>
            <a:off x="2286628" y="3980077"/>
            <a:ext cx="3507079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32"/>
          <p:cNvCxnSpPr/>
          <p:nvPr/>
        </p:nvCxnSpPr>
        <p:spPr>
          <a:xfrm>
            <a:off x="1657533" y="4398051"/>
            <a:ext cx="324078" cy="420024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36"/>
          <p:cNvCxnSpPr/>
          <p:nvPr/>
        </p:nvCxnSpPr>
        <p:spPr>
          <a:xfrm>
            <a:off x="3932667" y="5475236"/>
            <a:ext cx="1119756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39"/>
          <p:cNvCxnSpPr/>
          <p:nvPr/>
        </p:nvCxnSpPr>
        <p:spPr>
          <a:xfrm flipH="1">
            <a:off x="6263958" y="4398051"/>
            <a:ext cx="464170" cy="579192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2" name="Shape 63"/>
          <p:cNvSpPr/>
          <p:nvPr/>
        </p:nvSpPr>
        <p:spPr>
          <a:xfrm>
            <a:off x="6728129" y="1835798"/>
            <a:ext cx="515766" cy="28493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6789" tIns="26789" rIns="26789" bIns="26789" anchor="ctr">
            <a:spAutoFit/>
          </a:bodyPr>
          <a:lstStyle>
            <a:lvl1pPr>
              <a:defRPr sz="4000"/>
            </a:lvl1pPr>
          </a:lstStyle>
          <a:p>
            <a:pPr lvl="0">
              <a:defRPr sz="1800"/>
            </a:pPr>
            <a:r>
              <a:rPr lang="en-US" sz="1500" b="1" dirty="0">
                <a:latin typeface="Circular Pro Book"/>
              </a:rPr>
              <a:t>Case</a:t>
            </a:r>
            <a:endParaRPr sz="1500" b="1" dirty="0">
              <a:latin typeface="Circular Pro Book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6240720" y="3380393"/>
            <a:ext cx="1656200" cy="1017658"/>
            <a:chOff x="6305091" y="2194432"/>
            <a:chExt cx="1260353" cy="835948"/>
          </a:xfrm>
        </p:grpSpPr>
        <p:pic>
          <p:nvPicPr>
            <p:cNvPr id="24" name="Picture 23" descr="3434.large.jpg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5091" y="2194432"/>
              <a:ext cx="1260353" cy="835948"/>
            </a:xfrm>
            <a:prstGeom prst="rect">
              <a:avLst/>
            </a:prstGeom>
          </p:spPr>
        </p:pic>
        <p:sp>
          <p:nvSpPr>
            <p:cNvPr id="25" name="Shape 64"/>
            <p:cNvSpPr/>
            <p:nvPr/>
          </p:nvSpPr>
          <p:spPr>
            <a:xfrm>
              <a:off x="6681457" y="2383130"/>
              <a:ext cx="592552" cy="42367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none" lIns="26789" tIns="26789" rIns="26789" bIns="26789" anchor="ctr">
              <a:spAutoFit/>
            </a:bodyPr>
            <a:lstStyle>
              <a:lvl1pPr>
                <a:defRPr sz="4000"/>
              </a:lvl1pPr>
            </a:lstStyle>
            <a:p>
              <a:pPr lvl="0" algn="ctr">
                <a:defRPr sz="1800"/>
              </a:pPr>
              <a:r>
                <a:rPr sz="1500" b="1" dirty="0">
                  <a:latin typeface="Circular Pro Book"/>
                </a:rPr>
                <a:t>Cutting </a:t>
              </a:r>
              <a:endParaRPr lang="en-US" sz="1500" b="1" dirty="0">
                <a:latin typeface="Circular Pro Book"/>
              </a:endParaRPr>
            </a:p>
            <a:p>
              <a:pPr lvl="0" algn="ctr">
                <a:defRPr sz="1800"/>
              </a:pPr>
              <a:r>
                <a:rPr sz="1500" b="1" dirty="0">
                  <a:latin typeface="Circular Pro Book"/>
                </a:rPr>
                <a:t>board</a:t>
              </a:r>
            </a:p>
          </p:txBody>
        </p:sp>
      </p:grpSp>
      <p:sp>
        <p:nvSpPr>
          <p:cNvPr id="26" name="Shape 62"/>
          <p:cNvSpPr/>
          <p:nvPr/>
        </p:nvSpPr>
        <p:spPr>
          <a:xfrm>
            <a:off x="4004938" y="1856525"/>
            <a:ext cx="605662" cy="28493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6789" tIns="26789" rIns="26789" bIns="26789" anchor="ctr">
            <a:spAutoFit/>
          </a:bodyPr>
          <a:lstStyle>
            <a:lvl1pPr>
              <a:defRPr sz="4000"/>
            </a:lvl1pPr>
          </a:lstStyle>
          <a:p>
            <a:pPr lvl="0">
              <a:defRPr sz="1800"/>
            </a:pPr>
            <a:r>
              <a:rPr sz="1500" b="1" dirty="0">
                <a:solidFill>
                  <a:schemeClr val="bg1"/>
                </a:solidFill>
                <a:latin typeface="Circular Pro Book"/>
              </a:rPr>
              <a:t>Tablet</a:t>
            </a:r>
          </a:p>
        </p:txBody>
      </p:sp>
      <p:pic>
        <p:nvPicPr>
          <p:cNvPr id="27" name="Picture 26" descr="tablet_PNG8576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9679" y="1582124"/>
            <a:ext cx="1492607" cy="1023071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3497062" y="1676004"/>
            <a:ext cx="130066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dirty="0" smtClean="0">
                <a:latin typeface="Circular Pro Book"/>
              </a:rPr>
              <a:t>Tablet/</a:t>
            </a:r>
            <a:r>
              <a:rPr lang="en-US" sz="1500" dirty="0">
                <a:latin typeface="Circular Pro Book"/>
              </a:rPr>
              <a:t> </a:t>
            </a:r>
            <a:r>
              <a:rPr lang="en-US" sz="1500" dirty="0" smtClean="0">
                <a:latin typeface="Circular Pro Book"/>
              </a:rPr>
              <a:t>smartphone</a:t>
            </a:r>
            <a:endParaRPr lang="en-US" sz="1500" dirty="0">
              <a:latin typeface="Circular Pro Book"/>
            </a:endParaRPr>
          </a:p>
        </p:txBody>
      </p:sp>
      <p:cxnSp>
        <p:nvCxnSpPr>
          <p:cNvPr id="29" name="Gerade Verbindung mit Pfeil 6"/>
          <p:cNvCxnSpPr/>
          <p:nvPr/>
        </p:nvCxnSpPr>
        <p:spPr>
          <a:xfrm>
            <a:off x="5052423" y="2141459"/>
            <a:ext cx="1035976" cy="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6"/>
          <p:cNvCxnSpPr/>
          <p:nvPr/>
        </p:nvCxnSpPr>
        <p:spPr>
          <a:xfrm flipV="1">
            <a:off x="6825191" y="2508934"/>
            <a:ext cx="0" cy="871459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1" name="Gerade Verbindung mit Pfeil 6"/>
          <p:cNvCxnSpPr/>
          <p:nvPr/>
        </p:nvCxnSpPr>
        <p:spPr>
          <a:xfrm>
            <a:off x="7185448" y="2508934"/>
            <a:ext cx="0" cy="912418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0070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latin typeface="Circular Pro Book"/>
              </a:rPr>
              <a:t>Title of presentation</a:t>
            </a:r>
            <a:endParaRPr lang="en-US">
              <a:latin typeface="Circular Pro Book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>
                <a:latin typeface="Circular Pro Book"/>
              </a:rPr>
              <a:t>21</a:t>
            </a:fld>
            <a:endParaRPr lang="en-US">
              <a:latin typeface="Circular Pro Book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98286" y="1288142"/>
            <a:ext cx="3628571" cy="237671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ircular Pro Book"/>
            </a:endParaRPr>
          </a:p>
        </p:txBody>
      </p:sp>
      <p:sp>
        <p:nvSpPr>
          <p:cNvPr id="9" name="Subtitle 2"/>
          <p:cNvSpPr txBox="1">
            <a:spLocks/>
          </p:cNvSpPr>
          <p:nvPr/>
        </p:nvSpPr>
        <p:spPr>
          <a:xfrm>
            <a:off x="0" y="0"/>
            <a:ext cx="9144000" cy="91733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>
                <a:solidFill>
                  <a:srgbClr val="000000"/>
                </a:solidFill>
                <a:latin typeface="Circular Pro Book"/>
                <a:cs typeface="Circular Pro Book"/>
              </a:rPr>
              <a:t> </a:t>
            </a:r>
            <a:r>
              <a:rPr lang="en-US" sz="3600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Marketing &amp; Distribution</a:t>
            </a:r>
            <a:endParaRPr lang="en-US" sz="3000" dirty="0">
              <a:solidFill>
                <a:srgbClr val="000000"/>
              </a:solidFill>
              <a:latin typeface="Circular Pro Book"/>
              <a:cs typeface="Circular Pro Book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98286" y="1288141"/>
            <a:ext cx="3628571" cy="369332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FFFF"/>
                </a:solidFill>
                <a:latin typeface="Circular Pro Book"/>
              </a:rPr>
              <a:t>Brands Offering Cutting Boards</a:t>
            </a:r>
            <a:endParaRPr lang="en-US" dirty="0">
              <a:solidFill>
                <a:srgbClr val="FFFFFF"/>
              </a:solidFill>
              <a:latin typeface="Circular Pro Book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98286" y="3853543"/>
            <a:ext cx="36285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FFFF"/>
                </a:solidFill>
                <a:latin typeface="Circular Pro Book"/>
              </a:rPr>
              <a:t>Potential Endorsements</a:t>
            </a:r>
            <a:endParaRPr lang="en-US" dirty="0">
              <a:solidFill>
                <a:srgbClr val="FFFFFF"/>
              </a:solidFill>
              <a:latin typeface="Circular Pro Book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643664" y="3853543"/>
            <a:ext cx="36285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FFFF"/>
                </a:solidFill>
                <a:latin typeface="Circular Pro Book"/>
              </a:rPr>
              <a:t>Potential Endorsements</a:t>
            </a:r>
            <a:endParaRPr lang="en-US" dirty="0">
              <a:solidFill>
                <a:srgbClr val="FFFFFF"/>
              </a:solidFill>
              <a:latin typeface="Circular Pro Book"/>
            </a:endParaRPr>
          </a:p>
        </p:txBody>
      </p:sp>
      <p:pic>
        <p:nvPicPr>
          <p:cNvPr id="14" name="Picture 13" descr="imgre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4912" y="1779583"/>
            <a:ext cx="2376077" cy="561806"/>
          </a:xfrm>
          <a:prstGeom prst="rect">
            <a:avLst/>
          </a:prstGeom>
        </p:spPr>
      </p:pic>
      <p:pic>
        <p:nvPicPr>
          <p:cNvPr id="15" name="Picture 14" descr="kitchenaid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200" y="2203626"/>
            <a:ext cx="2887067" cy="695504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4643664" y="1288143"/>
            <a:ext cx="3628571" cy="237671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ircular Pro Book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643664" y="1288142"/>
            <a:ext cx="3628571" cy="369332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FFFF"/>
                </a:solidFill>
                <a:latin typeface="Circular Pro Book"/>
              </a:rPr>
              <a:t>Trendy Brands</a:t>
            </a:r>
            <a:endParaRPr lang="en-US" dirty="0">
              <a:solidFill>
                <a:srgbClr val="FFFFFF"/>
              </a:solidFill>
              <a:latin typeface="Circular Pro Book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98286" y="3817257"/>
            <a:ext cx="3628571" cy="237671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ircular Pro Book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98285" y="3817256"/>
            <a:ext cx="3628571" cy="369332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FFFF"/>
                </a:solidFill>
                <a:latin typeface="Circular Pro Book"/>
              </a:rPr>
              <a:t>Potential Endorsements</a:t>
            </a:r>
            <a:endParaRPr lang="en-US" dirty="0">
              <a:solidFill>
                <a:srgbClr val="FFFFFF"/>
              </a:solidFill>
              <a:latin typeface="Circular Pro Book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643664" y="3817257"/>
            <a:ext cx="3628571" cy="237671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ircular Pro Book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643664" y="3817256"/>
            <a:ext cx="3628571" cy="369332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FFFF"/>
                </a:solidFill>
                <a:latin typeface="Circular Pro Book"/>
              </a:rPr>
              <a:t>Distribution Channels</a:t>
            </a:r>
            <a:endParaRPr lang="en-US" dirty="0">
              <a:solidFill>
                <a:srgbClr val="FFFFFF"/>
              </a:solidFill>
              <a:latin typeface="Circular Pro Book"/>
            </a:endParaRPr>
          </a:p>
        </p:txBody>
      </p:sp>
      <p:pic>
        <p:nvPicPr>
          <p:cNvPr id="22" name="Picture 21" descr="logo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0336" y="2060486"/>
            <a:ext cx="1119483" cy="1108288"/>
          </a:xfrm>
          <a:prstGeom prst="rect">
            <a:avLst/>
          </a:prstGeom>
        </p:spPr>
      </p:pic>
      <p:pic>
        <p:nvPicPr>
          <p:cNvPr id="23" name="Picture 22" descr="imgres-1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4352" y="4590144"/>
            <a:ext cx="1072878" cy="1058636"/>
          </a:xfrm>
          <a:prstGeom prst="rect">
            <a:avLst/>
          </a:prstGeom>
        </p:spPr>
      </p:pic>
      <p:pic>
        <p:nvPicPr>
          <p:cNvPr id="24" name="Picture 23" descr="Screen Shot 2015-11-30 at 9.17.02 PM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1443" y="4351399"/>
            <a:ext cx="812800" cy="822036"/>
          </a:xfrm>
          <a:prstGeom prst="rect">
            <a:avLst/>
          </a:prstGeom>
        </p:spPr>
      </p:pic>
      <p:pic>
        <p:nvPicPr>
          <p:cNvPr id="25" name="Picture 24" descr="Screen Shot 2015-11-30 at 9.17.12 PM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9697" y="4310744"/>
            <a:ext cx="1625600" cy="558800"/>
          </a:xfrm>
          <a:prstGeom prst="rect">
            <a:avLst/>
          </a:prstGeom>
        </p:spPr>
      </p:pic>
      <p:pic>
        <p:nvPicPr>
          <p:cNvPr id="26" name="Picture 25" descr="Screen Shot 2015-11-30 at 9.17.20 PM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4031" y="5173435"/>
            <a:ext cx="1031266" cy="904124"/>
          </a:xfrm>
          <a:prstGeom prst="rect">
            <a:avLst/>
          </a:prstGeom>
        </p:spPr>
      </p:pic>
      <p:pic>
        <p:nvPicPr>
          <p:cNvPr id="27" name="Picture 26" descr="Screen Shot 2015-11-30 at 9.17.24 PM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7886" y="5292880"/>
            <a:ext cx="1584900" cy="739620"/>
          </a:xfrm>
          <a:prstGeom prst="rect">
            <a:avLst/>
          </a:prstGeom>
        </p:spPr>
      </p:pic>
      <p:pic>
        <p:nvPicPr>
          <p:cNvPr id="28" name="Picture 27" descr="Screen Shot 2015-11-30 at 9.15.16 PM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0083" y="4858058"/>
            <a:ext cx="2247900" cy="368300"/>
          </a:xfrm>
          <a:prstGeom prst="rect">
            <a:avLst/>
          </a:prstGeom>
        </p:spPr>
      </p:pic>
      <p:pic>
        <p:nvPicPr>
          <p:cNvPr id="29" name="Picture 28" descr="Screen Shot 2015-11-30 at 9.14.55 PM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1600" y="4688115"/>
            <a:ext cx="1041400" cy="927100"/>
          </a:xfrm>
          <a:prstGeom prst="rect">
            <a:avLst/>
          </a:prstGeom>
        </p:spPr>
      </p:pic>
      <p:pic>
        <p:nvPicPr>
          <p:cNvPr id="30" name="Picture 29" descr="Screen Shot 2015-11-30 at 9.15.16 PM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5100" y="2941602"/>
            <a:ext cx="2247900" cy="36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807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>
                <a:latin typeface="Circular Pro Book"/>
              </a:rPr>
              <a:t>22</a:t>
            </a:fld>
            <a:endParaRPr lang="en-US">
              <a:latin typeface="Circular Pro Book"/>
            </a:endParaRPr>
          </a:p>
        </p:txBody>
      </p:sp>
      <p:sp>
        <p:nvSpPr>
          <p:cNvPr id="7" name="Subtitle 2"/>
          <p:cNvSpPr txBox="1">
            <a:spLocks/>
          </p:cNvSpPr>
          <p:nvPr/>
        </p:nvSpPr>
        <p:spPr>
          <a:xfrm>
            <a:off x="0" y="0"/>
            <a:ext cx="9144000" cy="91733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 Advertising Templates Applied</a:t>
            </a:r>
            <a:endParaRPr lang="en-US" sz="3000" dirty="0">
              <a:solidFill>
                <a:srgbClr val="000000"/>
              </a:solidFill>
              <a:latin typeface="Circular Pro Book"/>
              <a:cs typeface="Circular Pro Book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2798779" y="1391143"/>
            <a:ext cx="3316271" cy="75857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Circular Pro Book"/>
                <a:cs typeface="Circular Pro Book"/>
              </a:rPr>
              <a:t>Unification</a:t>
            </a:r>
            <a:endParaRPr lang="en-US" dirty="0">
              <a:latin typeface="Circular Pro Book"/>
              <a:cs typeface="Circular Pro Book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2798779" y="2202636"/>
            <a:ext cx="3316271" cy="758570"/>
          </a:xfrm>
          <a:prstGeom prst="roundRect">
            <a:avLst/>
          </a:prstGeom>
          <a:solidFill>
            <a:schemeClr val="tx2">
              <a:lumMod val="75000"/>
              <a:alpha val="1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Circular Pro Book"/>
                <a:cs typeface="Circular Pro Book"/>
              </a:rPr>
              <a:t>Activation</a:t>
            </a:r>
            <a:endParaRPr lang="en-US" dirty="0">
              <a:latin typeface="Circular Pro Book"/>
              <a:cs typeface="Circular Pro Book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2810059" y="3025394"/>
            <a:ext cx="3316271" cy="758570"/>
          </a:xfrm>
          <a:prstGeom prst="roundRect">
            <a:avLst/>
          </a:prstGeom>
          <a:solidFill>
            <a:schemeClr val="tx2">
              <a:lumMod val="75000"/>
              <a:alpha val="1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Circular Pro Book"/>
                <a:cs typeface="Circular Pro Book"/>
              </a:rPr>
              <a:t>Metaphor</a:t>
            </a:r>
            <a:endParaRPr lang="en-US" dirty="0">
              <a:latin typeface="Circular Pro Book"/>
              <a:cs typeface="Circular Pro Book"/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2798779" y="3861908"/>
            <a:ext cx="3316271" cy="758570"/>
          </a:xfrm>
          <a:prstGeom prst="roundRect">
            <a:avLst/>
          </a:prstGeom>
          <a:solidFill>
            <a:schemeClr val="tx2">
              <a:lumMod val="75000"/>
              <a:alpha val="1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Circular Pro Book"/>
                <a:cs typeface="Circular Pro Book"/>
              </a:rPr>
              <a:t>Extreme Consequences</a:t>
            </a:r>
            <a:endParaRPr lang="en-US" dirty="0">
              <a:latin typeface="Circular Pro Book"/>
              <a:cs typeface="Circular Pro Book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2810059" y="4700808"/>
            <a:ext cx="3316271" cy="75857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Circular Pro Book"/>
                <a:cs typeface="Circular Pro Book"/>
              </a:rPr>
              <a:t>Absurd Alternative</a:t>
            </a:r>
            <a:endParaRPr lang="en-US" dirty="0">
              <a:latin typeface="Circular Pro Book"/>
              <a:cs typeface="Circular Pro Book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2798779" y="5544858"/>
            <a:ext cx="3316271" cy="758570"/>
          </a:xfrm>
          <a:prstGeom prst="roundRect">
            <a:avLst/>
          </a:prstGeom>
          <a:solidFill>
            <a:schemeClr val="tx2">
              <a:lumMod val="75000"/>
              <a:alpha val="1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Circular Pro Book"/>
                <a:cs typeface="Circular Pro Book"/>
              </a:rPr>
              <a:t>Inversion Tool</a:t>
            </a:r>
            <a:endParaRPr lang="en-US" dirty="0">
              <a:latin typeface="Circular Pro Book"/>
              <a:cs typeface="Circular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3495315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6656" y="0"/>
            <a:ext cx="4568944" cy="6934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29928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400" y="0"/>
            <a:ext cx="4537931" cy="6949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69635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9036"/>
            <a:ext cx="9144000" cy="6101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73732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49758"/>
            <a:ext cx="9144000" cy="6268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29398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5121"/>
            <a:ext cx="9182828" cy="6245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63585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97" y="569728"/>
            <a:ext cx="9144793" cy="5718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8599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Netflix dill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87375"/>
            <a:ext cx="9144000" cy="571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257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80444992"/>
              </p:ext>
            </p:extLst>
          </p:nvPr>
        </p:nvGraphicFramePr>
        <p:xfrm>
          <a:off x="311178" y="1406592"/>
          <a:ext cx="8594719" cy="48958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latin typeface="Circular Pro Book"/>
              </a:rPr>
              <a:t>Title of presentation</a:t>
            </a:r>
            <a:endParaRPr lang="en-US">
              <a:latin typeface="Circular Pro Book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>
                <a:latin typeface="Circular Pro Book"/>
              </a:rPr>
              <a:t>3</a:t>
            </a:fld>
            <a:endParaRPr lang="en-US">
              <a:latin typeface="Circular Pro Book"/>
            </a:endParaRPr>
          </a:p>
        </p:txBody>
      </p:sp>
      <p:sp>
        <p:nvSpPr>
          <p:cNvPr id="9" name="Subtitle 2"/>
          <p:cNvSpPr txBox="1">
            <a:spLocks/>
          </p:cNvSpPr>
          <p:nvPr/>
        </p:nvSpPr>
        <p:spPr>
          <a:xfrm>
            <a:off x="0" y="0"/>
            <a:ext cx="9144000" cy="917339"/>
          </a:xfrm>
          <a:prstGeom prst="rect">
            <a:avLst/>
          </a:prstGeom>
          <a:solidFill>
            <a:schemeClr val="bg2"/>
          </a:solidFill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>
                <a:solidFill>
                  <a:srgbClr val="000000"/>
                </a:solidFill>
                <a:latin typeface="Circular Pro Book"/>
                <a:cs typeface="Circular Pro Book"/>
              </a:rPr>
              <a:t> </a:t>
            </a:r>
            <a:r>
              <a:rPr lang="en-US" sz="3600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The Digital Kitchen</a:t>
            </a:r>
            <a:endParaRPr lang="en-US" sz="3600" dirty="0">
              <a:solidFill>
                <a:srgbClr val="000000"/>
              </a:solidFill>
              <a:latin typeface="Circular Pro Book"/>
              <a:cs typeface="Circular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2156737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4" name="Picture 6" descr="http://www.radio.net/inc/v2/images/landing/hero/devices/single/ipa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3679" y="1066150"/>
            <a:ext cx="5814695" cy="4121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407920" y="2966720"/>
            <a:ext cx="40030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latin typeface="Goudy Stout" panose="0202090407030B020401" pitchFamily="18" charset="0"/>
              </a:rPr>
              <a:t>THANK YOU!</a:t>
            </a:r>
            <a:endParaRPr lang="en-US" sz="2400" b="1" dirty="0">
              <a:latin typeface="Goudy Stout" panose="0202090407030B020401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8788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48852" y="1808913"/>
            <a:ext cx="6942748" cy="1115607"/>
          </a:xfrm>
        </p:spPr>
        <p:txBody>
          <a:bodyPr/>
          <a:lstStyle/>
          <a:p>
            <a:pPr marL="0" lvl="0" indent="0">
              <a:buNone/>
            </a:pPr>
            <a:r>
              <a:rPr lang="en-US" dirty="0" smtClean="0">
                <a:latin typeface="Circular Pro Book"/>
                <a:cs typeface="Circular Pro Book"/>
              </a:rPr>
              <a:t>59</a:t>
            </a:r>
            <a:r>
              <a:rPr lang="en-US" dirty="0">
                <a:latin typeface="Circular Pro Book"/>
                <a:cs typeface="Circular Pro Book"/>
              </a:rPr>
              <a:t>% of 25- to 34-year-olds bring either smartphones or tablets into the </a:t>
            </a:r>
            <a:r>
              <a:rPr lang="en-US" dirty="0" smtClean="0">
                <a:latin typeface="Circular Pro Book"/>
                <a:cs typeface="Circular Pro Book"/>
              </a:rPr>
              <a:t>kitchen</a:t>
            </a:r>
          </a:p>
          <a:p>
            <a:pPr marL="0" lvl="0" indent="0">
              <a:buNone/>
            </a:pPr>
            <a:endParaRPr lang="en-US" dirty="0">
              <a:latin typeface="Circular Pro Book"/>
              <a:cs typeface="Circular Pro Book"/>
            </a:endParaRPr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0" y="0"/>
            <a:ext cx="9144000" cy="91733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 </a:t>
            </a:r>
            <a:r>
              <a:rPr lang="en-US" sz="3900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Secondary Research</a:t>
            </a:r>
            <a:r>
              <a:rPr lang="en-US" sz="3600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 – </a:t>
            </a:r>
            <a:r>
              <a:rPr lang="en-US" sz="3000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Millennials in the Kitchen </a:t>
            </a:r>
            <a:endParaRPr lang="en-US" sz="3000" dirty="0">
              <a:solidFill>
                <a:srgbClr val="000000"/>
              </a:solidFill>
              <a:latin typeface="Circular Pro Book"/>
              <a:cs typeface="Circular Pro Book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870" y="1387059"/>
            <a:ext cx="1854982" cy="185498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3117" y="3409154"/>
            <a:ext cx="2203491" cy="220349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93868" y="3709963"/>
            <a:ext cx="6656821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solidFill>
                <a:schemeClr val="tx2">
                  <a:lumMod val="75000"/>
                </a:schemeClr>
              </a:solidFill>
              <a:latin typeface="Circular Pro Book"/>
              <a:cs typeface="Circular Pro Book"/>
            </a:endParaRPr>
          </a:p>
          <a:p>
            <a:r>
              <a:rPr lang="en-US" sz="2800" dirty="0">
                <a:latin typeface="Circular Pro Book"/>
                <a:cs typeface="Circular Pro Book"/>
              </a:rPr>
              <a:t>68% of millennial moms said that they </a:t>
            </a:r>
            <a:r>
              <a:rPr lang="en-US" sz="2800" dirty="0" smtClean="0">
                <a:latin typeface="Circular Pro Book"/>
                <a:cs typeface="Circular Pro Book"/>
              </a:rPr>
              <a:t>watch </a:t>
            </a:r>
            <a:r>
              <a:rPr lang="en-US" sz="2800" dirty="0">
                <a:latin typeface="Circular Pro Book"/>
                <a:cs typeface="Circular Pro Book"/>
              </a:rPr>
              <a:t>videos while cooking </a:t>
            </a:r>
          </a:p>
          <a:p>
            <a:endParaRPr lang="en-US" dirty="0">
              <a:latin typeface="Circular Pro Book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36266" y="5898631"/>
            <a:ext cx="1068053" cy="731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67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7950" y="2473443"/>
            <a:ext cx="1861309" cy="1395982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latin typeface="Circular Pro Book"/>
              </a:rPr>
              <a:t>Title of presentation</a:t>
            </a:r>
            <a:endParaRPr lang="en-US">
              <a:latin typeface="Circular Pro Book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>
                <a:latin typeface="Circular Pro Book"/>
              </a:rPr>
              <a:t>5</a:t>
            </a:fld>
            <a:endParaRPr lang="en-US">
              <a:latin typeface="Circular Pro Book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0" y="0"/>
            <a:ext cx="9144000" cy="91733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b="1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 Technology in the Kitchen</a:t>
            </a:r>
            <a:endParaRPr lang="en-US" sz="3200" b="1" dirty="0">
              <a:solidFill>
                <a:srgbClr val="000000"/>
              </a:solidFill>
              <a:latin typeface="Circular Pro Book"/>
              <a:cs typeface="Circular Pro Book"/>
            </a:endParaRPr>
          </a:p>
        </p:txBody>
      </p:sp>
      <p:graphicFrame>
        <p:nvGraphicFramePr>
          <p:cNvPr id="14" name="Diagram 13"/>
          <p:cNvGraphicFramePr/>
          <p:nvPr>
            <p:extLst>
              <p:ext uri="{D42A27DB-BD31-4B8C-83A1-F6EECF244321}">
                <p14:modId xmlns:p14="http://schemas.microsoft.com/office/powerpoint/2010/main" val="1272144826"/>
              </p:ext>
            </p:extLst>
          </p:nvPr>
        </p:nvGraphicFramePr>
        <p:xfrm>
          <a:off x="-648171" y="668765"/>
          <a:ext cx="10523190" cy="61892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18" name="Group 17"/>
          <p:cNvGrpSpPr/>
          <p:nvPr/>
        </p:nvGrpSpPr>
        <p:grpSpPr>
          <a:xfrm>
            <a:off x="1219757" y="2445603"/>
            <a:ext cx="1250296" cy="996975"/>
            <a:chOff x="0" y="182020"/>
            <a:chExt cx="2680215" cy="2021107"/>
          </a:xfrm>
        </p:grpSpPr>
        <p:sp>
          <p:nvSpPr>
            <p:cNvPr id="19" name="Rounded Rectangle 18"/>
            <p:cNvSpPr/>
            <p:nvPr/>
          </p:nvSpPr>
          <p:spPr>
            <a:xfrm>
              <a:off x="0" y="182020"/>
              <a:ext cx="2680215" cy="2021107"/>
            </a:xfrm>
            <a:prstGeom prst="roundRect">
              <a:avLst>
                <a:gd name="adj" fmla="val 10000"/>
              </a:avLst>
            </a:prstGeom>
            <a:blipFill rotWithShape="0">
              <a:blip r:embed="rId9"/>
              <a:stretch>
                <a:fillRect/>
              </a:stretch>
            </a:blipFill>
            <a:ln>
              <a:noFill/>
            </a:ln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" name="Rounded Rectangle 4"/>
            <p:cNvSpPr/>
            <p:nvPr/>
          </p:nvSpPr>
          <p:spPr>
            <a:xfrm>
              <a:off x="44397" y="226417"/>
              <a:ext cx="1787356" cy="1427036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0" tIns="247650" rIns="247650" bIns="247650" numCol="1" spcCol="1270" anchor="t" anchorCtr="0">
              <a:noAutofit/>
            </a:bodyPr>
            <a:lstStyle/>
            <a:p>
              <a:pPr marL="285750" lvl="1" indent="-285750" algn="l" defTabSz="2266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en-US" sz="5100" kern="1200" dirty="0">
                <a:latin typeface="Circular Pro Book"/>
              </a:endParaRPr>
            </a:p>
          </p:txBody>
        </p:sp>
      </p:grpSp>
      <p:pic>
        <p:nvPicPr>
          <p:cNvPr id="21" name="Picture 20" descr="images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297" y="4420080"/>
            <a:ext cx="1723288" cy="826923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62673" y="1690676"/>
            <a:ext cx="782767" cy="782767"/>
          </a:xfrm>
          <a:prstGeom prst="rect">
            <a:avLst/>
          </a:prstGeom>
        </p:spPr>
      </p:pic>
      <p:pic>
        <p:nvPicPr>
          <p:cNvPr id="23" name="Picture 22" descr="foodgawker.jp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9118" y="4420080"/>
            <a:ext cx="1378467" cy="1378467"/>
          </a:xfrm>
          <a:prstGeom prst="rect">
            <a:avLst/>
          </a:prstGeom>
        </p:spPr>
      </p:pic>
      <p:pic>
        <p:nvPicPr>
          <p:cNvPr id="24" name="Picture 23" descr="chefstech_600px.jp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3621" y="5381576"/>
            <a:ext cx="1074103" cy="823479"/>
          </a:xfrm>
          <a:prstGeom prst="rect">
            <a:avLst/>
          </a:prstGeom>
        </p:spPr>
      </p:pic>
      <p:pic>
        <p:nvPicPr>
          <p:cNvPr id="25" name="Picture 24" descr="logo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8052" y="5306433"/>
            <a:ext cx="1928288" cy="662045"/>
          </a:xfrm>
          <a:prstGeom prst="rect">
            <a:avLst/>
          </a:prstGeom>
        </p:spPr>
      </p:pic>
      <p:pic>
        <p:nvPicPr>
          <p:cNvPr id="26" name="Picture 25" descr="max-thumbnail-cooking-with-dog.jp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0670" y="1669666"/>
            <a:ext cx="1828760" cy="944444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379783" y="1427927"/>
            <a:ext cx="901415" cy="901415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277585" y="4488627"/>
            <a:ext cx="762579" cy="762579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031794" y="4060905"/>
            <a:ext cx="1190301" cy="1190301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42979" y="1282452"/>
            <a:ext cx="175444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 smtClean="0">
                <a:solidFill>
                  <a:srgbClr val="000000"/>
                </a:solidFill>
                <a:latin typeface="Circular Pro Book"/>
              </a:rPr>
              <a:t>Ideas &amp; Inspiration</a:t>
            </a:r>
            <a:endParaRPr lang="en-US" sz="2200" b="1" dirty="0">
              <a:solidFill>
                <a:srgbClr val="000000"/>
              </a:solidFill>
              <a:latin typeface="Circular Pro Book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481090" y="1227872"/>
            <a:ext cx="166291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 smtClean="0">
                <a:solidFill>
                  <a:srgbClr val="000000"/>
                </a:solidFill>
                <a:latin typeface="Circular Pro Book"/>
              </a:rPr>
              <a:t>Videos &amp; Tutorials</a:t>
            </a:r>
            <a:endParaRPr lang="en-US" sz="2200" b="1" dirty="0">
              <a:solidFill>
                <a:srgbClr val="000000"/>
              </a:solidFill>
              <a:latin typeface="Circular Pro Book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658875" y="5801363"/>
            <a:ext cx="10390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latin typeface="Circular Pro Book"/>
              </a:rPr>
              <a:t>Blogs</a:t>
            </a:r>
            <a:endParaRPr lang="en-US" sz="2400" b="1" dirty="0">
              <a:latin typeface="Circular Pro Book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84815" y="5801363"/>
            <a:ext cx="13660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latin typeface="Circular Pro Book"/>
              </a:rPr>
              <a:t>Recipes</a:t>
            </a:r>
            <a:endParaRPr lang="en-US" sz="2400" b="1" dirty="0">
              <a:latin typeface="Circular Pro Book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684019" y="2473443"/>
            <a:ext cx="1391527" cy="139152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823647" y="2680701"/>
            <a:ext cx="1291403" cy="98146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873621" y="4060905"/>
            <a:ext cx="2962916" cy="361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407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150806574"/>
              </p:ext>
            </p:extLst>
          </p:nvPr>
        </p:nvGraphicFramePr>
        <p:xfrm>
          <a:off x="551397" y="1263525"/>
          <a:ext cx="7986902" cy="50301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Subtitle 2"/>
          <p:cNvSpPr txBox="1">
            <a:spLocks/>
          </p:cNvSpPr>
          <p:nvPr/>
        </p:nvSpPr>
        <p:spPr>
          <a:xfrm>
            <a:off x="0" y="10160"/>
            <a:ext cx="9144000" cy="91733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200" b="1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 </a:t>
            </a:r>
            <a:r>
              <a:rPr lang="en-US" sz="3200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Identified Problems</a:t>
            </a:r>
            <a:endParaRPr lang="en-US" sz="3000" dirty="0">
              <a:solidFill>
                <a:srgbClr val="000000"/>
              </a:solidFill>
              <a:latin typeface="Circular Pro Book"/>
              <a:cs typeface="Circular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3764327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>
                <a:latin typeface="Circular Pro Book"/>
              </a:rPr>
              <a:t>7</a:t>
            </a:fld>
            <a:endParaRPr lang="en-US">
              <a:latin typeface="Circular Pro Book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0" y="0"/>
            <a:ext cx="9144000" cy="91733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 </a:t>
            </a:r>
            <a:r>
              <a:rPr lang="en-US" sz="3600" b="1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Solution</a:t>
            </a:r>
            <a:endParaRPr lang="en-US" sz="3600" b="1" dirty="0">
              <a:solidFill>
                <a:srgbClr val="000000"/>
              </a:solidFill>
              <a:latin typeface="Circular Pro Book"/>
              <a:cs typeface="Circular Pro Book"/>
            </a:endParaRPr>
          </a:p>
        </p:txBody>
      </p:sp>
      <p:pic>
        <p:nvPicPr>
          <p:cNvPr id="7" name="Picture 6" descr="Render_5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12851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082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>
                <a:latin typeface="Circular Pro Book"/>
              </a:rPr>
              <a:t>8</a:t>
            </a:fld>
            <a:endParaRPr lang="en-US">
              <a:latin typeface="Circular Pro Book"/>
            </a:endParaRPr>
          </a:p>
        </p:txBody>
      </p:sp>
      <p:pic>
        <p:nvPicPr>
          <p:cNvPr id="7" name="Picture 6" descr="Render_3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01962"/>
            <a:ext cx="9144000" cy="5143500"/>
          </a:xfrm>
          <a:prstGeom prst="rect">
            <a:avLst/>
          </a:prstGeom>
        </p:spPr>
      </p:pic>
      <p:sp>
        <p:nvSpPr>
          <p:cNvPr id="8" name="Subtitle 2"/>
          <p:cNvSpPr txBox="1">
            <a:spLocks/>
          </p:cNvSpPr>
          <p:nvPr/>
        </p:nvSpPr>
        <p:spPr>
          <a:xfrm>
            <a:off x="0" y="0"/>
            <a:ext cx="9144000" cy="91733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 </a:t>
            </a:r>
            <a:r>
              <a:rPr lang="en-US" sz="3600" b="1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Solution</a:t>
            </a:r>
            <a:endParaRPr lang="en-US" sz="3600" b="1" dirty="0">
              <a:solidFill>
                <a:srgbClr val="000000"/>
              </a:solidFill>
              <a:latin typeface="Circular Pro Book"/>
              <a:cs typeface="Circular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3156270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935AA-5B98-AF48-81F9-E6158C10747A}" type="slidenum">
              <a:rPr lang="en-US" smtClean="0">
                <a:latin typeface="Circular Pro Book"/>
              </a:rPr>
              <a:t>9</a:t>
            </a:fld>
            <a:endParaRPr lang="en-US">
              <a:latin typeface="Circular Pro Book"/>
            </a:endParaRPr>
          </a:p>
        </p:txBody>
      </p:sp>
      <p:pic>
        <p:nvPicPr>
          <p:cNvPr id="2" name="Picture 1" descr="Render_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6197"/>
            <a:ext cx="9144000" cy="5143500"/>
          </a:xfrm>
          <a:prstGeom prst="rect">
            <a:avLst/>
          </a:prstGeom>
        </p:spPr>
      </p:pic>
      <p:sp>
        <p:nvSpPr>
          <p:cNvPr id="7" name="Subtitle 2"/>
          <p:cNvSpPr txBox="1">
            <a:spLocks/>
          </p:cNvSpPr>
          <p:nvPr/>
        </p:nvSpPr>
        <p:spPr>
          <a:xfrm>
            <a:off x="0" y="0"/>
            <a:ext cx="9144000" cy="917339"/>
          </a:xfrm>
          <a:prstGeom prst="rect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b="1" dirty="0" smtClean="0">
                <a:solidFill>
                  <a:srgbClr val="000000"/>
                </a:solidFill>
                <a:latin typeface="Circular Pro Book"/>
                <a:cs typeface="Circular Pro Book"/>
              </a:rPr>
              <a:t> Solution</a:t>
            </a:r>
            <a:endParaRPr lang="en-US" sz="3600" b="1" dirty="0">
              <a:solidFill>
                <a:srgbClr val="000000"/>
              </a:solidFill>
              <a:latin typeface="Circular Pro Book"/>
              <a:cs typeface="Circular Pro Book"/>
            </a:endParaRPr>
          </a:p>
        </p:txBody>
      </p:sp>
    </p:spTree>
    <p:extLst>
      <p:ext uri="{BB962C8B-B14F-4D97-AF65-F5344CB8AC3E}">
        <p14:creationId xmlns:p14="http://schemas.microsoft.com/office/powerpoint/2010/main" val="437620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2SIDW3t0i2D5GwzwHQG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2SIDW3t0i2D5GwzwHQ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2SIDW3t0i2D5GwzwHQ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2SIDW3t0i2D5GwzwHQ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2SIDW3t0i2D5GwzwHQG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2SIDW3t0i2D5GwzwHQ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3vxPOHX0yYab9qoa4o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2SIDW3t0i2D5GwzwHQ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cyXAdCpkmZBviiY4ig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8rNbl3VkiCarku0f8E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2SIDW3t0i2D5GwzwHQ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8rNbl3VkiCarku0f8E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2SIDW3t0i2D5GwzwHQ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2SIDW3t0i2D5GwzwHQGQ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F090BF3-7C57-8843-83E1-80D648759A73}" vid="{17EDFCBC-56D4-F149-ABC2-8F91F664DCA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cK style</Template>
  <TotalTime>719</TotalTime>
  <Words>1010</Words>
  <Application>Microsoft Office PowerPoint</Application>
  <PresentationFormat>On-screen Show (4:3)</PresentationFormat>
  <Paragraphs>212</Paragraphs>
  <Slides>3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9" baseType="lpstr">
      <vt:lpstr>Circular Pro Bold</vt:lpstr>
      <vt:lpstr>Circular Pro Book</vt:lpstr>
      <vt:lpstr>Arial</vt:lpstr>
      <vt:lpstr>Calibri</vt:lpstr>
      <vt:lpstr>Calibri Light</vt:lpstr>
      <vt:lpstr>Goudy Stout</vt:lpstr>
      <vt:lpstr>Wingdings</vt:lpstr>
      <vt:lpstr>Office Theme</vt:lpstr>
      <vt:lpstr>think-cell Slide</vt:lpstr>
      <vt:lpstr>ScreenSavo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a Alcocer</dc:creator>
  <cp:lastModifiedBy>Leila Feldman</cp:lastModifiedBy>
  <cp:revision>75</cp:revision>
  <dcterms:created xsi:type="dcterms:W3CDTF">2015-11-23T02:34:59Z</dcterms:created>
  <dcterms:modified xsi:type="dcterms:W3CDTF">2015-12-01T05:08:24Z</dcterms:modified>
</cp:coreProperties>
</file>